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4.xml" ContentType="application/vnd.openxmlformats-officedocument.drawingml.chart+xml"/>
  <Override PartName="/ppt/charts/style1.xml" ContentType="application/vnd.ms-office.chartstyle+xml"/>
  <Override PartName="/ppt/charts/colors1.xml" ContentType="application/vnd.ms-office.chartcolorstyle+xml"/>
  <Override PartName="/ppt/charts/chart5.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xml" ContentType="application/vnd.openxmlformats-officedocument.presentationml.notesSlide+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7" r:id="rId4"/>
  </p:sldMasterIdLst>
  <p:notesMasterIdLst>
    <p:notesMasterId r:id="rId18"/>
  </p:notesMasterIdLst>
  <p:sldIdLst>
    <p:sldId id="331" r:id="rId5"/>
    <p:sldId id="329" r:id="rId6"/>
    <p:sldId id="332" r:id="rId7"/>
    <p:sldId id="333" r:id="rId8"/>
    <p:sldId id="978" r:id="rId9"/>
    <p:sldId id="354" r:id="rId10"/>
    <p:sldId id="334" r:id="rId11"/>
    <p:sldId id="983" r:id="rId12"/>
    <p:sldId id="1635" r:id="rId13"/>
    <p:sldId id="1663" r:id="rId14"/>
    <p:sldId id="336" r:id="rId15"/>
    <p:sldId id="984" r:id="rId16"/>
    <p:sldId id="327" r:id="rId17"/>
  </p:sldIdLst>
  <p:sldSz cx="9144000" cy="5143500" type="screen16x9"/>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NISTÈRIEL" id="{0B896E98-F45E-4768-8620-EDDF394BE181}">
          <p14:sldIdLst>
            <p14:sldId id="331"/>
            <p14:sldId id="329"/>
            <p14:sldId id="332"/>
            <p14:sldId id="333"/>
            <p14:sldId id="978"/>
            <p14:sldId id="354"/>
            <p14:sldId id="334"/>
            <p14:sldId id="983"/>
            <p14:sldId id="1635"/>
            <p14:sldId id="1663"/>
            <p14:sldId id="336"/>
            <p14:sldId id="984"/>
            <p14:sldId id="327"/>
          </p14:sldIdLst>
        </p14:section>
        <p14:section name="MÉTHODOLOGIE" id="{EB03BDE6-D677-4574-A7BF-9721F91BDEB8}">
          <p14:sldIdLst/>
        </p14:section>
      </p14:sectionLst>
    </p:ext>
    <p:ext uri="{EFAFB233-063F-42B5-8137-9DF3F51BA10A}">
      <p15:sldGuideLst xmlns:p15="http://schemas.microsoft.com/office/powerpoint/2012/main">
        <p15:guide id="1" orient="horz" pos="1620">
          <p15:clr>
            <a:srgbClr val="A4A3A4"/>
          </p15:clr>
        </p15:guide>
        <p15:guide id="2" orient="horz" pos="191">
          <p15:clr>
            <a:srgbClr val="A4A3A4"/>
          </p15:clr>
        </p15:guide>
        <p15:guide id="3" orient="horz" pos="854">
          <p15:clr>
            <a:srgbClr val="A4A3A4"/>
          </p15:clr>
        </p15:guide>
        <p15:guide id="4" orient="horz" pos="821">
          <p15:clr>
            <a:srgbClr val="A4A3A4"/>
          </p15:clr>
        </p15:guide>
        <p15:guide id="5" orient="horz" pos="3072" userDrawn="1">
          <p15:clr>
            <a:srgbClr val="A4A3A4"/>
          </p15:clr>
        </p15:guide>
        <p15:guide id="6" orient="horz" pos="3151">
          <p15:clr>
            <a:srgbClr val="A4A3A4"/>
          </p15:clr>
        </p15:guide>
        <p15:guide id="7" pos="2880">
          <p15:clr>
            <a:srgbClr val="A4A3A4"/>
          </p15:clr>
        </p15:guide>
        <p15:guide id="8" pos="476">
          <p15:clr>
            <a:srgbClr val="A4A3A4"/>
          </p15:clr>
        </p15:guide>
        <p15:guide id="9" pos="5193">
          <p15:clr>
            <a:srgbClr val="A4A3A4"/>
          </p15:clr>
        </p15:guide>
        <p15:guide id="10" pos="5465">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299" autoAdjust="0"/>
    <p:restoredTop sz="94660"/>
  </p:normalViewPr>
  <p:slideViewPr>
    <p:cSldViewPr showGuides="1">
      <p:cViewPr varScale="1">
        <p:scale>
          <a:sx n="98" d="100"/>
          <a:sy n="98" d="100"/>
        </p:scale>
        <p:origin x="72" y="88"/>
      </p:cViewPr>
      <p:guideLst>
        <p:guide orient="horz" pos="1620"/>
        <p:guide orient="horz" pos="191"/>
        <p:guide orient="horz" pos="854"/>
        <p:guide orient="horz" pos="821"/>
        <p:guide orient="horz" pos="3072"/>
        <p:guide orient="horz" pos="3151"/>
        <p:guide pos="2880"/>
        <p:guide pos="476"/>
        <p:guide pos="5193"/>
        <p:guide pos="5465"/>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3" Type="http://schemas.openxmlformats.org/officeDocument/2006/relationships/oleObject" Target="file:///\\auth-dgec-1.auth.ad.e2.rie.gouv.fr\dgec.scee.sd6\41_Verdissement%20et%20immatriculation\Donn&#233;es%20immat%20-%20parc\2023\immat_PL_2022_2023.xls" TargetMode="External"/><Relationship Id="rId2" Type="http://schemas.microsoft.com/office/2011/relationships/chartColorStyle" Target="colors1.xml"/><Relationship Id="rId1" Type="http://schemas.microsoft.com/office/2011/relationships/chartStyle" Target="style1.xml"/></Relationships>
</file>

<file path=ppt/charts/_rels/chart5.xml.rels><?xml version="1.0" encoding="UTF-8" standalone="yes"?>
<Relationships xmlns="http://schemas.openxmlformats.org/package/2006/relationships"><Relationship Id="rId3" Type="http://schemas.openxmlformats.org/officeDocument/2006/relationships/oleObject" Target="file:///\\auth-dgec-1.auth.ad.e2.rie.gouv.fr\dgec.scee.sd6\41_Verdissement%20et%20immatriculation\Fiscalit&#233;\Lois%20de%20finances\PLF%202025\Pr&#233;paration\Graphes_note_Evolutions_malus.xlsx" TargetMode="External"/><Relationship Id="rId2" Type="http://schemas.microsoft.com/office/2011/relationships/chartColorStyle" Target="colors2.xml"/><Relationship Id="rId1" Type="http://schemas.microsoft.com/office/2011/relationships/chartStyle" Target="style2.xml"/></Relationships>
</file>

<file path=ppt/charts/_rels/chart6.xml.rels><?xml version="1.0" encoding="UTF-8" standalone="yes"?>
<Relationships xmlns="http://schemas.openxmlformats.org/package/2006/relationships"><Relationship Id="rId3" Type="http://schemas.openxmlformats.org/officeDocument/2006/relationships/oleObject" Target="file:///C:\Users\sylvain.quennehen\AppData\Local\Temp\Graphes_note_Evolutions_malus-1.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742655699177438"/>
          <c:y val="3.9365079365079367E-2"/>
          <c:w val="0.78202115158636898"/>
          <c:h val="0.92126984126984124"/>
        </c:manualLayout>
      </c:layout>
      <c:scatterChart>
        <c:scatterStyle val="lineMarker"/>
        <c:varyColors val="0"/>
        <c:ser>
          <c:idx val="0"/>
          <c:order val="0"/>
          <c:spPr>
            <a:ln w="19050" algn="ctr">
              <a:solidFill>
                <a:schemeClr val="accent1"/>
              </a:solidFill>
              <a:prstDash val="solid"/>
            </a:ln>
          </c:spPr>
          <c:marker>
            <c:symbol val="none"/>
          </c:marker>
          <c:xVal>
            <c:numRef>
              <c:f>Sheet1!$A$1:$X$1</c:f>
              <c:numCache>
                <c:formatCode>General</c:formatCode>
                <c:ptCount val="24"/>
                <c:pt idx="0">
                  <c:v>16436</c:v>
                </c:pt>
                <c:pt idx="1">
                  <c:v>16801</c:v>
                </c:pt>
                <c:pt idx="2">
                  <c:v>17167</c:v>
                </c:pt>
                <c:pt idx="3">
                  <c:v>17532</c:v>
                </c:pt>
                <c:pt idx="4">
                  <c:v>17897</c:v>
                </c:pt>
                <c:pt idx="5">
                  <c:v>18262</c:v>
                </c:pt>
                <c:pt idx="6">
                  <c:v>18628</c:v>
                </c:pt>
                <c:pt idx="7">
                  <c:v>18993</c:v>
                </c:pt>
                <c:pt idx="8">
                  <c:v>19358</c:v>
                </c:pt>
                <c:pt idx="9">
                  <c:v>19723</c:v>
                </c:pt>
                <c:pt idx="10">
                  <c:v>20089</c:v>
                </c:pt>
                <c:pt idx="11">
                  <c:v>20454</c:v>
                </c:pt>
                <c:pt idx="12">
                  <c:v>20819</c:v>
                </c:pt>
                <c:pt idx="13">
                  <c:v>21184</c:v>
                </c:pt>
                <c:pt idx="14">
                  <c:v>21550</c:v>
                </c:pt>
                <c:pt idx="15">
                  <c:v>21915</c:v>
                </c:pt>
                <c:pt idx="16">
                  <c:v>22280</c:v>
                </c:pt>
                <c:pt idx="17">
                  <c:v>22645</c:v>
                </c:pt>
                <c:pt idx="18">
                  <c:v>23011</c:v>
                </c:pt>
                <c:pt idx="19">
                  <c:v>23376</c:v>
                </c:pt>
                <c:pt idx="20">
                  <c:v>23741</c:v>
                </c:pt>
                <c:pt idx="21">
                  <c:v>24106</c:v>
                </c:pt>
                <c:pt idx="22">
                  <c:v>24472</c:v>
                </c:pt>
                <c:pt idx="23">
                  <c:v>24837</c:v>
                </c:pt>
              </c:numCache>
            </c:numRef>
          </c:xVal>
          <c:yVal>
            <c:numRef>
              <c:f>Sheet1!$A$2:$X$2</c:f>
              <c:numCache>
                <c:formatCode>General</c:formatCode>
                <c:ptCount val="24"/>
                <c:pt idx="0">
                  <c:v>0.89999999999999991</c:v>
                </c:pt>
                <c:pt idx="1">
                  <c:v>1.0999999999999999</c:v>
                </c:pt>
                <c:pt idx="2">
                  <c:v>1.1801302560482025</c:v>
                </c:pt>
                <c:pt idx="3">
                  <c:v>1.4284339999872944</c:v>
                </c:pt>
                <c:pt idx="4">
                  <c:v>1.9216605618349667</c:v>
                </c:pt>
                <c:pt idx="5">
                  <c:v>6.602620605736842</c:v>
                </c:pt>
                <c:pt idx="6">
                  <c:v>9.69</c:v>
                </c:pt>
                <c:pt idx="7">
                  <c:v>13.139999999999999</c:v>
                </c:pt>
              </c:numCache>
            </c:numRef>
          </c:yVal>
          <c:smooth val="0"/>
          <c:extLst>
            <c:ext xmlns:c16="http://schemas.microsoft.com/office/drawing/2014/chart" uri="{C3380CC4-5D6E-409C-BE32-E72D297353CC}">
              <c16:uniqueId val="{00000000-FAB8-459C-9C20-A1B14458AC28}"/>
            </c:ext>
          </c:extLst>
        </c:ser>
        <c:ser>
          <c:idx val="1"/>
          <c:order val="1"/>
          <c:spPr>
            <a:ln w="19050" algn="ctr">
              <a:solidFill>
                <a:schemeClr val="accent2"/>
              </a:solidFill>
              <a:prstDash val="solid"/>
            </a:ln>
          </c:spPr>
          <c:marker>
            <c:symbol val="none"/>
          </c:marker>
          <c:xVal>
            <c:numRef>
              <c:f>Sheet1!$A$1:$X$1</c:f>
              <c:numCache>
                <c:formatCode>General</c:formatCode>
                <c:ptCount val="24"/>
                <c:pt idx="0">
                  <c:v>16436</c:v>
                </c:pt>
                <c:pt idx="1">
                  <c:v>16801</c:v>
                </c:pt>
                <c:pt idx="2">
                  <c:v>17167</c:v>
                </c:pt>
                <c:pt idx="3">
                  <c:v>17532</c:v>
                </c:pt>
                <c:pt idx="4">
                  <c:v>17897</c:v>
                </c:pt>
                <c:pt idx="5">
                  <c:v>18262</c:v>
                </c:pt>
                <c:pt idx="6">
                  <c:v>18628</c:v>
                </c:pt>
                <c:pt idx="7">
                  <c:v>18993</c:v>
                </c:pt>
                <c:pt idx="8">
                  <c:v>19358</c:v>
                </c:pt>
                <c:pt idx="9">
                  <c:v>19723</c:v>
                </c:pt>
                <c:pt idx="10">
                  <c:v>20089</c:v>
                </c:pt>
                <c:pt idx="11">
                  <c:v>20454</c:v>
                </c:pt>
                <c:pt idx="12">
                  <c:v>20819</c:v>
                </c:pt>
                <c:pt idx="13">
                  <c:v>21184</c:v>
                </c:pt>
                <c:pt idx="14">
                  <c:v>21550</c:v>
                </c:pt>
                <c:pt idx="15">
                  <c:v>21915</c:v>
                </c:pt>
                <c:pt idx="16">
                  <c:v>22280</c:v>
                </c:pt>
                <c:pt idx="17">
                  <c:v>22645</c:v>
                </c:pt>
                <c:pt idx="18">
                  <c:v>23011</c:v>
                </c:pt>
                <c:pt idx="19">
                  <c:v>23376</c:v>
                </c:pt>
                <c:pt idx="20">
                  <c:v>23741</c:v>
                </c:pt>
                <c:pt idx="21">
                  <c:v>24106</c:v>
                </c:pt>
                <c:pt idx="22">
                  <c:v>24472</c:v>
                </c:pt>
                <c:pt idx="23">
                  <c:v>24837</c:v>
                </c:pt>
              </c:numCache>
            </c:numRef>
          </c:xVal>
          <c:yVal>
            <c:numRef>
              <c:f>Sheet1!$A$3:$X$3</c:f>
              <c:numCache>
                <c:formatCode>General</c:formatCode>
                <c:ptCount val="24"/>
                <c:pt idx="7">
                  <c:v>13.139999999999999</c:v>
                </c:pt>
                <c:pt idx="8">
                  <c:v>17</c:v>
                </c:pt>
                <c:pt idx="9">
                  <c:v>20</c:v>
                </c:pt>
                <c:pt idx="10">
                  <c:v>27.272727272727277</c:v>
                </c:pt>
                <c:pt idx="11">
                  <c:v>34.545454545454554</c:v>
                </c:pt>
                <c:pt idx="12">
                  <c:v>41.818181818181827</c:v>
                </c:pt>
                <c:pt idx="13">
                  <c:v>49.090909090909101</c:v>
                </c:pt>
                <c:pt idx="14">
                  <c:v>56.363636363636374</c:v>
                </c:pt>
                <c:pt idx="15">
                  <c:v>63.636363636363647</c:v>
                </c:pt>
                <c:pt idx="16">
                  <c:v>70.909090909090921</c:v>
                </c:pt>
                <c:pt idx="17">
                  <c:v>78.181818181818201</c:v>
                </c:pt>
                <c:pt idx="18">
                  <c:v>85.454545454545467</c:v>
                </c:pt>
                <c:pt idx="19">
                  <c:v>92.727272727272748</c:v>
                </c:pt>
                <c:pt idx="20">
                  <c:v>100</c:v>
                </c:pt>
                <c:pt idx="21">
                  <c:v>100</c:v>
                </c:pt>
                <c:pt idx="22">
                  <c:v>100</c:v>
                </c:pt>
                <c:pt idx="23">
                  <c:v>100</c:v>
                </c:pt>
              </c:numCache>
            </c:numRef>
          </c:yVal>
          <c:smooth val="0"/>
          <c:extLst>
            <c:ext xmlns:c16="http://schemas.microsoft.com/office/drawing/2014/chart" uri="{C3380CC4-5D6E-409C-BE32-E72D297353CC}">
              <c16:uniqueId val="{00000001-FAB8-459C-9C20-A1B14458AC28}"/>
            </c:ext>
          </c:extLst>
        </c:ser>
        <c:dLbls>
          <c:showLegendKey val="0"/>
          <c:showVal val="0"/>
          <c:showCatName val="0"/>
          <c:showSerName val="0"/>
          <c:showPercent val="0"/>
          <c:showBubbleSize val="0"/>
        </c:dLbls>
        <c:axId val="275798415"/>
        <c:axId val="1"/>
      </c:scatterChart>
      <c:valAx>
        <c:axId val="275798415"/>
        <c:scaling>
          <c:orientation val="minMax"/>
          <c:max val="25567"/>
          <c:min val="16436"/>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100"/>
          <c:min val="0"/>
        </c:scaling>
        <c:delete val="0"/>
        <c:axPos val="l"/>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000" kern="1200">
                <a:solidFill>
                  <a:schemeClr val="tx1"/>
                </a:solidFill>
                <a:latin typeface="+mn-lt"/>
                <a:ea typeface="+mn-ea"/>
                <a:cs typeface="+mn-cs"/>
              </a:defRPr>
            </a:pPr>
            <a:endParaRPr lang="de-DE"/>
          </a:p>
        </c:txPr>
        <c:crossAx val="275798415"/>
        <c:crosses val="min"/>
        <c:crossBetween val="midCat"/>
        <c:majorUnit val="1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701346389228886"/>
          <c:y val="3.9365079365079367E-2"/>
          <c:w val="0.79804161566707466"/>
          <c:h val="0.92126984126984124"/>
        </c:manualLayout>
      </c:layout>
      <c:scatterChart>
        <c:scatterStyle val="lineMarker"/>
        <c:varyColors val="0"/>
        <c:ser>
          <c:idx val="0"/>
          <c:order val="0"/>
          <c:spPr>
            <a:ln w="19050" algn="ctr">
              <a:solidFill>
                <a:schemeClr val="accent1"/>
              </a:solidFill>
              <a:prstDash val="solid"/>
            </a:ln>
          </c:spPr>
          <c:marker>
            <c:symbol val="none"/>
          </c:marker>
          <c:xVal>
            <c:numRef>
              <c:f>Sheet1!$A$1:$X$1</c:f>
              <c:numCache>
                <c:formatCode>General</c:formatCode>
                <c:ptCount val="24"/>
                <c:pt idx="0">
                  <c:v>16436</c:v>
                </c:pt>
                <c:pt idx="1">
                  <c:v>16801</c:v>
                </c:pt>
                <c:pt idx="2">
                  <c:v>17167</c:v>
                </c:pt>
                <c:pt idx="3">
                  <c:v>17532</c:v>
                </c:pt>
                <c:pt idx="4">
                  <c:v>17897</c:v>
                </c:pt>
                <c:pt idx="5">
                  <c:v>18262</c:v>
                </c:pt>
                <c:pt idx="6">
                  <c:v>18628</c:v>
                </c:pt>
                <c:pt idx="7">
                  <c:v>18993</c:v>
                </c:pt>
                <c:pt idx="8">
                  <c:v>19358</c:v>
                </c:pt>
                <c:pt idx="9">
                  <c:v>19723</c:v>
                </c:pt>
                <c:pt idx="10">
                  <c:v>20089</c:v>
                </c:pt>
                <c:pt idx="11">
                  <c:v>20454</c:v>
                </c:pt>
                <c:pt idx="12">
                  <c:v>20819</c:v>
                </c:pt>
                <c:pt idx="13">
                  <c:v>21184</c:v>
                </c:pt>
                <c:pt idx="14">
                  <c:v>21550</c:v>
                </c:pt>
                <c:pt idx="15">
                  <c:v>21915</c:v>
                </c:pt>
                <c:pt idx="16">
                  <c:v>22280</c:v>
                </c:pt>
                <c:pt idx="17">
                  <c:v>22645</c:v>
                </c:pt>
                <c:pt idx="18">
                  <c:v>23011</c:v>
                </c:pt>
                <c:pt idx="19">
                  <c:v>23376</c:v>
                </c:pt>
                <c:pt idx="20">
                  <c:v>23741</c:v>
                </c:pt>
                <c:pt idx="21">
                  <c:v>24106</c:v>
                </c:pt>
                <c:pt idx="22">
                  <c:v>24472</c:v>
                </c:pt>
                <c:pt idx="23">
                  <c:v>24837</c:v>
                </c:pt>
              </c:numCache>
            </c:numRef>
          </c:xVal>
          <c:yVal>
            <c:numRef>
              <c:f>Sheet1!$A$2:$X$2</c:f>
              <c:numCache>
                <c:formatCode>General</c:formatCode>
                <c:ptCount val="24"/>
                <c:pt idx="0">
                  <c:v>8.9915861138482281E-2</c:v>
                </c:pt>
                <c:pt idx="1">
                  <c:v>0.13875366486196725</c:v>
                </c:pt>
                <c:pt idx="2">
                  <c:v>0.19145991706828175</c:v>
                </c:pt>
                <c:pt idx="3">
                  <c:v>0.24418121201078682</c:v>
                </c:pt>
                <c:pt idx="4">
                  <c:v>0.31926999580735277</c:v>
                </c:pt>
                <c:pt idx="5">
                  <c:v>0.48318472639337595</c:v>
                </c:pt>
                <c:pt idx="6">
                  <c:v>0.8</c:v>
                </c:pt>
                <c:pt idx="7">
                  <c:v>1.2</c:v>
                </c:pt>
              </c:numCache>
            </c:numRef>
          </c:yVal>
          <c:smooth val="0"/>
          <c:extLst>
            <c:ext xmlns:c16="http://schemas.microsoft.com/office/drawing/2014/chart" uri="{C3380CC4-5D6E-409C-BE32-E72D297353CC}">
              <c16:uniqueId val="{00000000-7076-4882-8129-738B45F8A2DF}"/>
            </c:ext>
          </c:extLst>
        </c:ser>
        <c:ser>
          <c:idx val="1"/>
          <c:order val="1"/>
          <c:spPr>
            <a:ln w="19050" algn="ctr">
              <a:solidFill>
                <a:schemeClr val="accent2"/>
              </a:solidFill>
              <a:prstDash val="solid"/>
            </a:ln>
          </c:spPr>
          <c:marker>
            <c:symbol val="none"/>
          </c:marker>
          <c:xVal>
            <c:numRef>
              <c:f>Sheet1!$A$1:$X$1</c:f>
              <c:numCache>
                <c:formatCode>General</c:formatCode>
                <c:ptCount val="24"/>
                <c:pt idx="0">
                  <c:v>16436</c:v>
                </c:pt>
                <c:pt idx="1">
                  <c:v>16801</c:v>
                </c:pt>
                <c:pt idx="2">
                  <c:v>17167</c:v>
                </c:pt>
                <c:pt idx="3">
                  <c:v>17532</c:v>
                </c:pt>
                <c:pt idx="4">
                  <c:v>17897</c:v>
                </c:pt>
                <c:pt idx="5">
                  <c:v>18262</c:v>
                </c:pt>
                <c:pt idx="6">
                  <c:v>18628</c:v>
                </c:pt>
                <c:pt idx="7">
                  <c:v>18993</c:v>
                </c:pt>
                <c:pt idx="8">
                  <c:v>19358</c:v>
                </c:pt>
                <c:pt idx="9">
                  <c:v>19723</c:v>
                </c:pt>
                <c:pt idx="10">
                  <c:v>20089</c:v>
                </c:pt>
                <c:pt idx="11">
                  <c:v>20454</c:v>
                </c:pt>
                <c:pt idx="12">
                  <c:v>20819</c:v>
                </c:pt>
                <c:pt idx="13">
                  <c:v>21184</c:v>
                </c:pt>
                <c:pt idx="14">
                  <c:v>21550</c:v>
                </c:pt>
                <c:pt idx="15">
                  <c:v>21915</c:v>
                </c:pt>
                <c:pt idx="16">
                  <c:v>22280</c:v>
                </c:pt>
                <c:pt idx="17">
                  <c:v>22645</c:v>
                </c:pt>
                <c:pt idx="18">
                  <c:v>23011</c:v>
                </c:pt>
                <c:pt idx="19">
                  <c:v>23376</c:v>
                </c:pt>
                <c:pt idx="20">
                  <c:v>23741</c:v>
                </c:pt>
                <c:pt idx="21">
                  <c:v>24106</c:v>
                </c:pt>
                <c:pt idx="22">
                  <c:v>24472</c:v>
                </c:pt>
                <c:pt idx="23">
                  <c:v>24837</c:v>
                </c:pt>
              </c:numCache>
            </c:numRef>
          </c:xVal>
          <c:yVal>
            <c:numRef>
              <c:f>Sheet1!$A$3:$X$3</c:f>
              <c:numCache>
                <c:formatCode>General</c:formatCode>
                <c:ptCount val="24"/>
                <c:pt idx="7">
                  <c:v>1.2438663881098906</c:v>
                </c:pt>
                <c:pt idx="8">
                  <c:v>1.8874008692409099</c:v>
                </c:pt>
                <c:pt idx="9">
                  <c:v>2.692664223025774</c:v>
                </c:pt>
                <c:pt idx="10">
                  <c:v>3.7559110625204619</c:v>
                </c:pt>
                <c:pt idx="11">
                  <c:v>5.1590643116082342</c:v>
                </c:pt>
                <c:pt idx="12">
                  <c:v>6.9924088127635784</c:v>
                </c:pt>
                <c:pt idx="13">
                  <c:v>9.2578415774204643</c:v>
                </c:pt>
                <c:pt idx="14">
                  <c:v>11.957324454652865</c:v>
                </c:pt>
                <c:pt idx="15">
                  <c:v>15.092886925142126</c:v>
                </c:pt>
                <c:pt idx="16">
                  <c:v>18.616194377296978</c:v>
                </c:pt>
                <c:pt idx="17">
                  <c:v>22.559531543552016</c:v>
                </c:pt>
                <c:pt idx="18">
                  <c:v>26.923958077480393</c:v>
                </c:pt>
                <c:pt idx="19">
                  <c:v>31.720928509252705</c:v>
                </c:pt>
                <c:pt idx="20">
                  <c:v>36.962310027826135</c:v>
                </c:pt>
                <c:pt idx="21">
                  <c:v>42.660401232793511</c:v>
                </c:pt>
                <c:pt idx="22">
                  <c:v>47.545493609020184</c:v>
                </c:pt>
                <c:pt idx="23">
                  <c:v>52.277966707997017</c:v>
                </c:pt>
              </c:numCache>
            </c:numRef>
          </c:yVal>
          <c:smooth val="0"/>
          <c:extLst>
            <c:ext xmlns:c16="http://schemas.microsoft.com/office/drawing/2014/chart" uri="{C3380CC4-5D6E-409C-BE32-E72D297353CC}">
              <c16:uniqueId val="{00000001-7076-4882-8129-738B45F8A2DF}"/>
            </c:ext>
          </c:extLst>
        </c:ser>
        <c:dLbls>
          <c:showLegendKey val="0"/>
          <c:showVal val="0"/>
          <c:showCatName val="0"/>
          <c:showSerName val="0"/>
          <c:showPercent val="0"/>
          <c:showBubbleSize val="0"/>
        </c:dLbls>
        <c:axId val="1938325600"/>
        <c:axId val="1"/>
      </c:scatterChart>
      <c:valAx>
        <c:axId val="1938325600"/>
        <c:scaling>
          <c:orientation val="minMax"/>
          <c:max val="25567"/>
          <c:min val="16436"/>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
        <c:crosses val="min"/>
        <c:crossBetween val="midCat"/>
      </c:valAx>
      <c:valAx>
        <c:axId val="1"/>
        <c:scaling>
          <c:orientation val="minMax"/>
          <c:max val="55"/>
          <c:min val="0"/>
        </c:scaling>
        <c:delete val="0"/>
        <c:axPos val="l"/>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800" kern="1200">
                <a:solidFill>
                  <a:schemeClr val="tx1"/>
                </a:solidFill>
                <a:latin typeface="+mn-lt"/>
                <a:ea typeface="+mn-ea"/>
                <a:cs typeface="+mn-cs"/>
              </a:defRPr>
            </a:pPr>
            <a:endParaRPr lang="de-DE"/>
          </a:p>
        </c:txPr>
        <c:crossAx val="1938325600"/>
        <c:crosses val="min"/>
        <c:crossBetween val="midCat"/>
        <c:majorUnit val="5"/>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427150380339378E-2"/>
          <c:y val="3.6338225017470298E-2"/>
          <c:w val="0.93914569923932123"/>
          <c:h val="0.92732354996505939"/>
        </c:manualLayout>
      </c:layout>
      <c:barChart>
        <c:barDir val="col"/>
        <c:grouping val="stacked"/>
        <c:varyColors val="0"/>
        <c:ser>
          <c:idx val="0"/>
          <c:order val="0"/>
          <c:spPr>
            <a:solidFill>
              <a:schemeClr val="accent3"/>
            </a:solidFill>
            <a:ln>
              <a:noFill/>
            </a:ln>
          </c:spPr>
          <c:invertIfNegative val="0"/>
          <c:dPt>
            <c:idx val="17"/>
            <c:invertIfNegative val="0"/>
            <c:bubble3D val="0"/>
            <c:spPr>
              <a:solidFill>
                <a:schemeClr val="accent1"/>
              </a:solidFill>
              <a:ln>
                <a:noFill/>
              </a:ln>
            </c:spPr>
            <c:extLst>
              <c:ext xmlns:c16="http://schemas.microsoft.com/office/drawing/2014/chart" uri="{C3380CC4-5D6E-409C-BE32-E72D297353CC}">
                <c16:uniqueId val="{00000000-CDFE-4F4C-8D6F-419C135E99EF}"/>
              </c:ext>
            </c:extLst>
          </c:dPt>
          <c:val>
            <c:numRef>
              <c:f>Sheet1!$A$1:$R$1</c:f>
              <c:numCache>
                <c:formatCode>General</c:formatCode>
                <c:ptCount val="18"/>
                <c:pt idx="0">
                  <c:v>2184259</c:v>
                </c:pt>
                <c:pt idx="1">
                  <c:v>2196301</c:v>
                </c:pt>
                <c:pt idx="2">
                  <c:v>1503476</c:v>
                </c:pt>
                <c:pt idx="3">
                  <c:v>1395102</c:v>
                </c:pt>
                <c:pt idx="4">
                  <c:v>1241641</c:v>
                </c:pt>
                <c:pt idx="5">
                  <c:v>1243200</c:v>
                </c:pt>
                <c:pt idx="6">
                  <c:v>1246000</c:v>
                </c:pt>
                <c:pt idx="7">
                  <c:v>1273000</c:v>
                </c:pt>
                <c:pt idx="8">
                  <c:v>1089545.4545454546</c:v>
                </c:pt>
                <c:pt idx="9">
                  <c:v>951981.81818181789</c:v>
                </c:pt>
                <c:pt idx="10">
                  <c:v>817127.27272727247</c:v>
                </c:pt>
                <c:pt idx="11">
                  <c:v>655200</c:v>
                </c:pt>
                <c:pt idx="12">
                  <c:v>522000</c:v>
                </c:pt>
                <c:pt idx="13">
                  <c:v>523636.3636363633</c:v>
                </c:pt>
                <c:pt idx="14">
                  <c:v>392727.27272727247</c:v>
                </c:pt>
                <c:pt idx="15">
                  <c:v>261818.18181818142</c:v>
                </c:pt>
                <c:pt idx="16">
                  <c:v>130909.09090909059</c:v>
                </c:pt>
                <c:pt idx="17">
                  <c:v>1800000</c:v>
                </c:pt>
              </c:numCache>
            </c:numRef>
          </c:val>
          <c:extLst>
            <c:ext xmlns:c16="http://schemas.microsoft.com/office/drawing/2014/chart" uri="{C3380CC4-5D6E-409C-BE32-E72D297353CC}">
              <c16:uniqueId val="{00000001-CDFE-4F4C-8D6F-419C135E99EF}"/>
            </c:ext>
          </c:extLst>
        </c:ser>
        <c:ser>
          <c:idx val="1"/>
          <c:order val="1"/>
          <c:spPr>
            <a:solidFill>
              <a:schemeClr val="accent2"/>
            </a:solidFill>
            <a:ln>
              <a:noFill/>
            </a:ln>
          </c:spPr>
          <c:invertIfNegative val="0"/>
          <c:dPt>
            <c:idx val="13"/>
            <c:invertIfNegative val="0"/>
            <c:bubble3D val="0"/>
            <c:spPr>
              <a:solidFill>
                <a:schemeClr val="accent1"/>
              </a:solidFill>
              <a:ln>
                <a:noFill/>
              </a:ln>
            </c:spPr>
            <c:extLst>
              <c:ext xmlns:c16="http://schemas.microsoft.com/office/drawing/2014/chart" uri="{C3380CC4-5D6E-409C-BE32-E72D297353CC}">
                <c16:uniqueId val="{00000002-CDFE-4F4C-8D6F-419C135E99EF}"/>
              </c:ext>
            </c:extLst>
          </c:dPt>
          <c:dPt>
            <c:idx val="14"/>
            <c:invertIfNegative val="0"/>
            <c:bubble3D val="0"/>
            <c:spPr>
              <a:solidFill>
                <a:schemeClr val="accent1"/>
              </a:solidFill>
              <a:ln>
                <a:noFill/>
              </a:ln>
            </c:spPr>
            <c:extLst>
              <c:ext xmlns:c16="http://schemas.microsoft.com/office/drawing/2014/chart" uri="{C3380CC4-5D6E-409C-BE32-E72D297353CC}">
                <c16:uniqueId val="{00000003-CDFE-4F4C-8D6F-419C135E99EF}"/>
              </c:ext>
            </c:extLst>
          </c:dPt>
          <c:dPt>
            <c:idx val="15"/>
            <c:invertIfNegative val="0"/>
            <c:bubble3D val="0"/>
            <c:spPr>
              <a:solidFill>
                <a:schemeClr val="accent1"/>
              </a:solidFill>
              <a:ln>
                <a:noFill/>
              </a:ln>
            </c:spPr>
            <c:extLst>
              <c:ext xmlns:c16="http://schemas.microsoft.com/office/drawing/2014/chart" uri="{C3380CC4-5D6E-409C-BE32-E72D297353CC}">
                <c16:uniqueId val="{00000004-CDFE-4F4C-8D6F-419C135E99EF}"/>
              </c:ext>
            </c:extLst>
          </c:dPt>
          <c:dPt>
            <c:idx val="16"/>
            <c:invertIfNegative val="0"/>
            <c:bubble3D val="0"/>
            <c:spPr>
              <a:solidFill>
                <a:schemeClr val="accent1"/>
              </a:solidFill>
              <a:ln>
                <a:noFill/>
              </a:ln>
            </c:spPr>
            <c:extLst>
              <c:ext xmlns:c16="http://schemas.microsoft.com/office/drawing/2014/chart" uri="{C3380CC4-5D6E-409C-BE32-E72D297353CC}">
                <c16:uniqueId val="{00000005-CDFE-4F4C-8D6F-419C135E99EF}"/>
              </c:ext>
            </c:extLst>
          </c:dPt>
          <c:dPt>
            <c:idx val="17"/>
            <c:invertIfNegative val="0"/>
            <c:bubble3D val="0"/>
            <c:spPr>
              <a:solidFill>
                <a:schemeClr val="accent3"/>
              </a:solidFill>
              <a:ln>
                <a:noFill/>
              </a:ln>
            </c:spPr>
            <c:extLst>
              <c:ext xmlns:c16="http://schemas.microsoft.com/office/drawing/2014/chart" uri="{C3380CC4-5D6E-409C-BE32-E72D297353CC}">
                <c16:uniqueId val="{00000006-CDFE-4F4C-8D6F-419C135E99EF}"/>
              </c:ext>
            </c:extLst>
          </c:dPt>
          <c:val>
            <c:numRef>
              <c:f>Sheet1!$A$2:$R$2</c:f>
              <c:numCache>
                <c:formatCode>General</c:formatCode>
                <c:ptCount val="18"/>
                <c:pt idx="0">
                  <c:v>14741</c:v>
                </c:pt>
                <c:pt idx="1">
                  <c:v>18783</c:v>
                </c:pt>
                <c:pt idx="2">
                  <c:v>74905</c:v>
                </c:pt>
                <c:pt idx="3">
                  <c:v>140655</c:v>
                </c:pt>
                <c:pt idx="4">
                  <c:v>127402</c:v>
                </c:pt>
                <c:pt idx="5">
                  <c:v>151200</c:v>
                </c:pt>
                <c:pt idx="6">
                  <c:v>142400</c:v>
                </c:pt>
                <c:pt idx="7">
                  <c:v>133000</c:v>
                </c:pt>
                <c:pt idx="8">
                  <c:v>141000</c:v>
                </c:pt>
                <c:pt idx="9">
                  <c:v>130200</c:v>
                </c:pt>
                <c:pt idx="10">
                  <c:v>119600</c:v>
                </c:pt>
                <c:pt idx="11">
                  <c:v>109200</c:v>
                </c:pt>
                <c:pt idx="12">
                  <c:v>90000</c:v>
                </c:pt>
                <c:pt idx="13">
                  <c:v>1276363.6363636367</c:v>
                </c:pt>
                <c:pt idx="14">
                  <c:v>1407272.7272727275</c:v>
                </c:pt>
                <c:pt idx="15">
                  <c:v>1538181.8181818186</c:v>
                </c:pt>
                <c:pt idx="16">
                  <c:v>1669090.9090909094</c:v>
                </c:pt>
                <c:pt idx="17">
                  <c:v>0</c:v>
                </c:pt>
              </c:numCache>
            </c:numRef>
          </c:val>
          <c:extLst>
            <c:ext xmlns:c16="http://schemas.microsoft.com/office/drawing/2014/chart" uri="{C3380CC4-5D6E-409C-BE32-E72D297353CC}">
              <c16:uniqueId val="{00000007-CDFE-4F4C-8D6F-419C135E99EF}"/>
            </c:ext>
          </c:extLst>
        </c:ser>
        <c:ser>
          <c:idx val="2"/>
          <c:order val="2"/>
          <c:spPr>
            <a:solidFill>
              <a:schemeClr val="accent1"/>
            </a:solidFill>
            <a:ln>
              <a:noFill/>
            </a:ln>
          </c:spPr>
          <c:invertIfNegative val="0"/>
          <c:val>
            <c:numRef>
              <c:f>Sheet1!$A$3:$R$3</c:f>
              <c:numCache>
                <c:formatCode>General</c:formatCode>
                <c:ptCount val="18"/>
                <c:pt idx="0">
                  <c:v>31657</c:v>
                </c:pt>
                <c:pt idx="1">
                  <c:v>43454</c:v>
                </c:pt>
                <c:pt idx="2">
                  <c:v>112286</c:v>
                </c:pt>
                <c:pt idx="3">
                  <c:v>164728</c:v>
                </c:pt>
                <c:pt idx="4">
                  <c:v>207083</c:v>
                </c:pt>
                <c:pt idx="5">
                  <c:v>285600</c:v>
                </c:pt>
                <c:pt idx="6">
                  <c:v>391600</c:v>
                </c:pt>
                <c:pt idx="7">
                  <c:v>494000</c:v>
                </c:pt>
                <c:pt idx="8">
                  <c:v>649454.54545454541</c:v>
                </c:pt>
                <c:pt idx="9">
                  <c:v>777818.18181818211</c:v>
                </c:pt>
                <c:pt idx="10">
                  <c:v>903272.72727272753</c:v>
                </c:pt>
                <c:pt idx="11">
                  <c:v>1055600</c:v>
                </c:pt>
                <c:pt idx="12">
                  <c:v>1188000</c:v>
                </c:pt>
              </c:numCache>
            </c:numRef>
          </c:val>
          <c:extLst>
            <c:ext xmlns:c16="http://schemas.microsoft.com/office/drawing/2014/chart" uri="{C3380CC4-5D6E-409C-BE32-E72D297353CC}">
              <c16:uniqueId val="{00000008-CDFE-4F4C-8D6F-419C135E99EF}"/>
            </c:ext>
          </c:extLst>
        </c:ser>
        <c:dLbls>
          <c:showLegendKey val="0"/>
          <c:showVal val="0"/>
          <c:showCatName val="0"/>
          <c:showSerName val="0"/>
          <c:showPercent val="0"/>
          <c:showBubbleSize val="0"/>
        </c:dLbls>
        <c:gapWidth val="80"/>
        <c:overlap val="100"/>
        <c:axId val="259989263"/>
        <c:axId val="1"/>
      </c:barChart>
      <c:catAx>
        <c:axId val="25998926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258538"/>
          <c:min val="0"/>
        </c:scaling>
        <c:delete val="1"/>
        <c:axPos val="l"/>
        <c:numFmt formatCode="General" sourceLinked="1"/>
        <c:majorTickMark val="out"/>
        <c:minorTickMark val="none"/>
        <c:tickLblPos val="nextTo"/>
        <c:crossAx val="259989263"/>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euil2!$B$4</c:f>
              <c:strCache>
                <c:ptCount val="1"/>
                <c:pt idx="0">
                  <c:v>2022</c:v>
                </c:pt>
              </c:strCache>
            </c:strRef>
          </c:tx>
          <c:spPr>
            <a:solidFill>
              <a:schemeClr val="accent1"/>
            </a:solidFill>
            <a:ln>
              <a:noFill/>
            </a:ln>
            <a:effectLst/>
          </c:spPr>
          <c:invertIfNegative val="0"/>
          <c:cat>
            <c:strRef>
              <c:f>Feuil2!$A$5:$A$9</c:f>
              <c:strCache>
                <c:ptCount val="5"/>
                <c:pt idx="0">
                  <c:v>Autres</c:v>
                </c:pt>
                <c:pt idx="1">
                  <c:v>Biogazole B100</c:v>
                </c:pt>
                <c:pt idx="2">
                  <c:v>Electricite</c:v>
                </c:pt>
                <c:pt idx="3">
                  <c:v>Gaz naturel</c:v>
                </c:pt>
                <c:pt idx="4">
                  <c:v>Gazole</c:v>
                </c:pt>
              </c:strCache>
            </c:strRef>
          </c:cat>
          <c:val>
            <c:numRef>
              <c:f>Feuil2!$B$5:$B$9</c:f>
              <c:numCache>
                <c:formatCode>General</c:formatCode>
                <c:ptCount val="5"/>
                <c:pt idx="0">
                  <c:v>153</c:v>
                </c:pt>
                <c:pt idx="1">
                  <c:v>810</c:v>
                </c:pt>
                <c:pt idx="2">
                  <c:v>512</c:v>
                </c:pt>
                <c:pt idx="3">
                  <c:v>2280</c:v>
                </c:pt>
                <c:pt idx="4">
                  <c:v>42416</c:v>
                </c:pt>
              </c:numCache>
            </c:numRef>
          </c:val>
          <c:extLst>
            <c:ext xmlns:c16="http://schemas.microsoft.com/office/drawing/2014/chart" uri="{C3380CC4-5D6E-409C-BE32-E72D297353CC}">
              <c16:uniqueId val="{00000000-804C-4C48-87A4-943C1687DE71}"/>
            </c:ext>
          </c:extLst>
        </c:ser>
        <c:ser>
          <c:idx val="1"/>
          <c:order val="1"/>
          <c:tx>
            <c:strRef>
              <c:f>Feuil2!$C$4</c:f>
              <c:strCache>
                <c:ptCount val="1"/>
                <c:pt idx="0">
                  <c:v>2023</c:v>
                </c:pt>
              </c:strCache>
            </c:strRef>
          </c:tx>
          <c:spPr>
            <a:solidFill>
              <a:schemeClr val="accent2"/>
            </a:solidFill>
            <a:ln>
              <a:noFill/>
            </a:ln>
            <a:effectLst/>
          </c:spPr>
          <c:invertIfNegative val="0"/>
          <c:cat>
            <c:strRef>
              <c:f>Feuil2!$A$5:$A$9</c:f>
              <c:strCache>
                <c:ptCount val="5"/>
                <c:pt idx="0">
                  <c:v>Autres</c:v>
                </c:pt>
                <c:pt idx="1">
                  <c:v>Biogazole B100</c:v>
                </c:pt>
                <c:pt idx="2">
                  <c:v>Electricite</c:v>
                </c:pt>
                <c:pt idx="3">
                  <c:v>Gaz naturel</c:v>
                </c:pt>
                <c:pt idx="4">
                  <c:v>Gazole</c:v>
                </c:pt>
              </c:strCache>
            </c:strRef>
          </c:cat>
          <c:val>
            <c:numRef>
              <c:f>Feuil2!$C$5:$C$9</c:f>
              <c:numCache>
                <c:formatCode>General</c:formatCode>
                <c:ptCount val="5"/>
                <c:pt idx="0">
                  <c:v>139</c:v>
                </c:pt>
                <c:pt idx="1">
                  <c:v>1177</c:v>
                </c:pt>
                <c:pt idx="2">
                  <c:v>2423</c:v>
                </c:pt>
                <c:pt idx="3">
                  <c:v>1927</c:v>
                </c:pt>
                <c:pt idx="4">
                  <c:v>38885</c:v>
                </c:pt>
              </c:numCache>
            </c:numRef>
          </c:val>
          <c:extLst>
            <c:ext xmlns:c16="http://schemas.microsoft.com/office/drawing/2014/chart" uri="{C3380CC4-5D6E-409C-BE32-E72D297353CC}">
              <c16:uniqueId val="{00000001-804C-4C48-87A4-943C1687DE71}"/>
            </c:ext>
          </c:extLst>
        </c:ser>
        <c:dLbls>
          <c:showLegendKey val="0"/>
          <c:showVal val="0"/>
          <c:showCatName val="0"/>
          <c:showSerName val="0"/>
          <c:showPercent val="0"/>
          <c:showBubbleSize val="0"/>
        </c:dLbls>
        <c:gapWidth val="219"/>
        <c:overlap val="-27"/>
        <c:axId val="2080642064"/>
        <c:axId val="2080642480"/>
      </c:barChart>
      <c:catAx>
        <c:axId val="2080642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2080642480"/>
        <c:crosses val="autoZero"/>
        <c:auto val="1"/>
        <c:lblAlgn val="ctr"/>
        <c:lblOffset val="100"/>
        <c:noMultiLvlLbl val="0"/>
      </c:catAx>
      <c:valAx>
        <c:axId val="20806424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20806420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b="0" i="0" baseline="0" dirty="0">
                <a:effectLst/>
              </a:rPr>
              <a:t>CO2 penalty scale and distribution of registrations</a:t>
            </a:r>
            <a:endParaRPr lang="fr-FR" sz="1000" dirty="0">
              <a:effectLst/>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Graphes_CO2!$A$1</c:f>
              <c:strCache>
                <c:ptCount val="1"/>
                <c:pt idx="0">
                  <c:v>Émissions de CO2 (g/km)</c:v>
                </c:pt>
              </c:strCache>
            </c:strRef>
          </c:tx>
          <c:spPr>
            <a:ln w="28575" cap="rnd">
              <a:solidFill>
                <a:schemeClr val="bg1">
                  <a:alpha val="0"/>
                </a:schemeClr>
              </a:solidFill>
              <a:round/>
            </a:ln>
            <a:effectLst/>
          </c:spPr>
          <c:marker>
            <c:symbol val="none"/>
          </c:marker>
          <c:cat>
            <c:numRef>
              <c:f>Graphes_CO2!$A$2:$A$202</c:f>
              <c:numCache>
                <c:formatCode>General</c:formatCode>
                <c:ptCount val="2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numCache>
            </c:numRef>
          </c:cat>
          <c:val>
            <c:numRef>
              <c:f>Graphes_CO2!$A$2:$A$205</c:f>
              <c:numCache>
                <c:formatCode>General</c:formatCode>
                <c:ptCount val="204"/>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numCache>
            </c:numRef>
          </c:val>
          <c:smooth val="0"/>
          <c:extLst>
            <c:ext xmlns:c16="http://schemas.microsoft.com/office/drawing/2014/chart" uri="{C3380CC4-5D6E-409C-BE32-E72D297353CC}">
              <c16:uniqueId val="{00000000-CC9B-496F-913E-336FCB063D91}"/>
            </c:ext>
          </c:extLst>
        </c:ser>
        <c:ser>
          <c:idx val="1"/>
          <c:order val="1"/>
          <c:tx>
            <c:strRef>
              <c:f>Graphes_CO2!$B$1</c:f>
              <c:strCache>
                <c:ptCount val="1"/>
                <c:pt idx="0">
                  <c:v>Barème 2023</c:v>
                </c:pt>
              </c:strCache>
            </c:strRef>
          </c:tx>
          <c:spPr>
            <a:ln w="28575" cap="rnd">
              <a:solidFill>
                <a:schemeClr val="accent2"/>
              </a:solidFill>
              <a:round/>
            </a:ln>
            <a:effectLst/>
          </c:spPr>
          <c:marker>
            <c:symbol val="none"/>
          </c:marker>
          <c:cat>
            <c:numRef>
              <c:f>Graphes_CO2!$A$2:$A$202</c:f>
              <c:numCache>
                <c:formatCode>General</c:formatCode>
                <c:ptCount val="2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numCache>
            </c:numRef>
          </c:cat>
          <c:val>
            <c:numRef>
              <c:f>Graphes_CO2!$B$2:$B$205</c:f>
              <c:numCache>
                <c:formatCode>#\ ##0\ "€"</c:formatCode>
                <c:ptCount val="204"/>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50</c:v>
                </c:pt>
                <c:pt idx="124">
                  <c:v>75</c:v>
                </c:pt>
                <c:pt idx="125">
                  <c:v>100</c:v>
                </c:pt>
                <c:pt idx="126">
                  <c:v>125</c:v>
                </c:pt>
                <c:pt idx="127">
                  <c:v>150</c:v>
                </c:pt>
                <c:pt idx="128">
                  <c:v>170</c:v>
                </c:pt>
                <c:pt idx="129">
                  <c:v>190</c:v>
                </c:pt>
                <c:pt idx="130">
                  <c:v>210</c:v>
                </c:pt>
                <c:pt idx="131">
                  <c:v>230</c:v>
                </c:pt>
                <c:pt idx="132">
                  <c:v>240</c:v>
                </c:pt>
                <c:pt idx="133">
                  <c:v>260</c:v>
                </c:pt>
                <c:pt idx="134">
                  <c:v>280</c:v>
                </c:pt>
                <c:pt idx="135">
                  <c:v>310</c:v>
                </c:pt>
                <c:pt idx="136">
                  <c:v>330</c:v>
                </c:pt>
                <c:pt idx="137">
                  <c:v>360</c:v>
                </c:pt>
                <c:pt idx="138">
                  <c:v>400</c:v>
                </c:pt>
                <c:pt idx="139">
                  <c:v>450</c:v>
                </c:pt>
                <c:pt idx="140">
                  <c:v>540</c:v>
                </c:pt>
                <c:pt idx="141">
                  <c:v>650</c:v>
                </c:pt>
                <c:pt idx="142">
                  <c:v>740</c:v>
                </c:pt>
                <c:pt idx="143">
                  <c:v>818</c:v>
                </c:pt>
                <c:pt idx="144">
                  <c:v>898</c:v>
                </c:pt>
                <c:pt idx="145">
                  <c:v>983</c:v>
                </c:pt>
                <c:pt idx="146">
                  <c:v>1074</c:v>
                </c:pt>
                <c:pt idx="147">
                  <c:v>1172</c:v>
                </c:pt>
                <c:pt idx="148">
                  <c:v>1276</c:v>
                </c:pt>
                <c:pt idx="149">
                  <c:v>1386</c:v>
                </c:pt>
                <c:pt idx="150">
                  <c:v>1504</c:v>
                </c:pt>
                <c:pt idx="151">
                  <c:v>1629</c:v>
                </c:pt>
                <c:pt idx="152">
                  <c:v>1761</c:v>
                </c:pt>
                <c:pt idx="153">
                  <c:v>1901</c:v>
                </c:pt>
                <c:pt idx="154">
                  <c:v>2049</c:v>
                </c:pt>
                <c:pt idx="155">
                  <c:v>2205</c:v>
                </c:pt>
                <c:pt idx="156">
                  <c:v>2370</c:v>
                </c:pt>
                <c:pt idx="157">
                  <c:v>2544</c:v>
                </c:pt>
                <c:pt idx="158">
                  <c:v>2726</c:v>
                </c:pt>
                <c:pt idx="159">
                  <c:v>2918</c:v>
                </c:pt>
                <c:pt idx="160">
                  <c:v>3119</c:v>
                </c:pt>
                <c:pt idx="161">
                  <c:v>3331</c:v>
                </c:pt>
                <c:pt idx="162">
                  <c:v>3552</c:v>
                </c:pt>
                <c:pt idx="163">
                  <c:v>3784</c:v>
                </c:pt>
                <c:pt idx="164">
                  <c:v>4026</c:v>
                </c:pt>
                <c:pt idx="165">
                  <c:v>4279</c:v>
                </c:pt>
                <c:pt idx="166">
                  <c:v>4543</c:v>
                </c:pt>
                <c:pt idx="167">
                  <c:v>4818</c:v>
                </c:pt>
                <c:pt idx="168">
                  <c:v>5105</c:v>
                </c:pt>
                <c:pt idx="169">
                  <c:v>5404</c:v>
                </c:pt>
                <c:pt idx="170">
                  <c:v>5715</c:v>
                </c:pt>
                <c:pt idx="171">
                  <c:v>6039</c:v>
                </c:pt>
                <c:pt idx="172">
                  <c:v>6375</c:v>
                </c:pt>
                <c:pt idx="173">
                  <c:v>6724</c:v>
                </c:pt>
                <c:pt idx="174">
                  <c:v>7086</c:v>
                </c:pt>
                <c:pt idx="175">
                  <c:v>7462</c:v>
                </c:pt>
                <c:pt idx="176">
                  <c:v>7851</c:v>
                </c:pt>
                <c:pt idx="177">
                  <c:v>8254</c:v>
                </c:pt>
                <c:pt idx="178">
                  <c:v>8671</c:v>
                </c:pt>
                <c:pt idx="179">
                  <c:v>9103</c:v>
                </c:pt>
                <c:pt idx="180">
                  <c:v>9550</c:v>
                </c:pt>
                <c:pt idx="181">
                  <c:v>10011</c:v>
                </c:pt>
                <c:pt idx="182">
                  <c:v>10488</c:v>
                </c:pt>
                <c:pt idx="183">
                  <c:v>10980</c:v>
                </c:pt>
                <c:pt idx="184">
                  <c:v>11488</c:v>
                </c:pt>
                <c:pt idx="185">
                  <c:v>12012</c:v>
                </c:pt>
                <c:pt idx="186">
                  <c:v>12552</c:v>
                </c:pt>
                <c:pt idx="187">
                  <c:v>13109</c:v>
                </c:pt>
                <c:pt idx="188">
                  <c:v>13682</c:v>
                </c:pt>
                <c:pt idx="189">
                  <c:v>14273</c:v>
                </c:pt>
                <c:pt idx="190">
                  <c:v>14881</c:v>
                </c:pt>
                <c:pt idx="191">
                  <c:v>15506</c:v>
                </c:pt>
                <c:pt idx="192">
                  <c:v>16149</c:v>
                </c:pt>
                <c:pt idx="193">
                  <c:v>16810</c:v>
                </c:pt>
                <c:pt idx="194">
                  <c:v>17490</c:v>
                </c:pt>
                <c:pt idx="195">
                  <c:v>18188</c:v>
                </c:pt>
                <c:pt idx="196">
                  <c:v>18905</c:v>
                </c:pt>
                <c:pt idx="197">
                  <c:v>19641</c:v>
                </c:pt>
                <c:pt idx="198">
                  <c:v>20396</c:v>
                </c:pt>
                <c:pt idx="199">
                  <c:v>21171</c:v>
                </c:pt>
                <c:pt idx="200">
                  <c:v>21966</c:v>
                </c:pt>
              </c:numCache>
            </c:numRef>
          </c:val>
          <c:smooth val="0"/>
          <c:extLst>
            <c:ext xmlns:c16="http://schemas.microsoft.com/office/drawing/2014/chart" uri="{C3380CC4-5D6E-409C-BE32-E72D297353CC}">
              <c16:uniqueId val="{00000001-CC9B-496F-913E-336FCB063D91}"/>
            </c:ext>
          </c:extLst>
        </c:ser>
        <c:ser>
          <c:idx val="2"/>
          <c:order val="2"/>
          <c:tx>
            <c:strRef>
              <c:f>Graphes_CO2!$C$1</c:f>
              <c:strCache>
                <c:ptCount val="1"/>
                <c:pt idx="0">
                  <c:v>Barème 2024</c:v>
                </c:pt>
              </c:strCache>
            </c:strRef>
          </c:tx>
          <c:spPr>
            <a:ln w="28575" cap="rnd">
              <a:solidFill>
                <a:schemeClr val="accent3"/>
              </a:solidFill>
              <a:round/>
            </a:ln>
            <a:effectLst/>
          </c:spPr>
          <c:marker>
            <c:symbol val="none"/>
          </c:marker>
          <c:cat>
            <c:numRef>
              <c:f>Graphes_CO2!$A$2:$A$202</c:f>
              <c:numCache>
                <c:formatCode>General</c:formatCode>
                <c:ptCount val="2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numCache>
            </c:numRef>
          </c:cat>
          <c:val>
            <c:numRef>
              <c:f>Graphes_CO2!$C$2:$C$205</c:f>
              <c:numCache>
                <c:formatCode>#\ ##0\ "€"</c:formatCode>
                <c:ptCount val="204"/>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50</c:v>
                </c:pt>
                <c:pt idx="119">
                  <c:v>75</c:v>
                </c:pt>
                <c:pt idx="120">
                  <c:v>100</c:v>
                </c:pt>
                <c:pt idx="121">
                  <c:v>125</c:v>
                </c:pt>
                <c:pt idx="122">
                  <c:v>150</c:v>
                </c:pt>
                <c:pt idx="123">
                  <c:v>170</c:v>
                </c:pt>
                <c:pt idx="124">
                  <c:v>190</c:v>
                </c:pt>
                <c:pt idx="125">
                  <c:v>210</c:v>
                </c:pt>
                <c:pt idx="126">
                  <c:v>230</c:v>
                </c:pt>
                <c:pt idx="127">
                  <c:v>240</c:v>
                </c:pt>
                <c:pt idx="128">
                  <c:v>260</c:v>
                </c:pt>
                <c:pt idx="129">
                  <c:v>280</c:v>
                </c:pt>
                <c:pt idx="130">
                  <c:v>310</c:v>
                </c:pt>
                <c:pt idx="131">
                  <c:v>330</c:v>
                </c:pt>
                <c:pt idx="132">
                  <c:v>360</c:v>
                </c:pt>
                <c:pt idx="133">
                  <c:v>400</c:v>
                </c:pt>
                <c:pt idx="134">
                  <c:v>450</c:v>
                </c:pt>
                <c:pt idx="135">
                  <c:v>540</c:v>
                </c:pt>
                <c:pt idx="136">
                  <c:v>650</c:v>
                </c:pt>
                <c:pt idx="137">
                  <c:v>740</c:v>
                </c:pt>
                <c:pt idx="138">
                  <c:v>818</c:v>
                </c:pt>
                <c:pt idx="139">
                  <c:v>898</c:v>
                </c:pt>
                <c:pt idx="140">
                  <c:v>983</c:v>
                </c:pt>
                <c:pt idx="141">
                  <c:v>1074</c:v>
                </c:pt>
                <c:pt idx="142">
                  <c:v>1172</c:v>
                </c:pt>
                <c:pt idx="143">
                  <c:v>1276</c:v>
                </c:pt>
                <c:pt idx="144">
                  <c:v>1386</c:v>
                </c:pt>
                <c:pt idx="145">
                  <c:v>1504</c:v>
                </c:pt>
                <c:pt idx="146">
                  <c:v>1629</c:v>
                </c:pt>
                <c:pt idx="147">
                  <c:v>1761</c:v>
                </c:pt>
                <c:pt idx="148">
                  <c:v>1901</c:v>
                </c:pt>
                <c:pt idx="149">
                  <c:v>2049</c:v>
                </c:pt>
                <c:pt idx="150">
                  <c:v>2205</c:v>
                </c:pt>
                <c:pt idx="151">
                  <c:v>2370</c:v>
                </c:pt>
                <c:pt idx="152">
                  <c:v>2544</c:v>
                </c:pt>
                <c:pt idx="153">
                  <c:v>2726</c:v>
                </c:pt>
                <c:pt idx="154">
                  <c:v>2918</c:v>
                </c:pt>
                <c:pt idx="155">
                  <c:v>3119</c:v>
                </c:pt>
                <c:pt idx="156">
                  <c:v>3331</c:v>
                </c:pt>
                <c:pt idx="157">
                  <c:v>3552</c:v>
                </c:pt>
                <c:pt idx="158">
                  <c:v>3784</c:v>
                </c:pt>
                <c:pt idx="159">
                  <c:v>4026</c:v>
                </c:pt>
                <c:pt idx="160">
                  <c:v>4279</c:v>
                </c:pt>
                <c:pt idx="161">
                  <c:v>4543</c:v>
                </c:pt>
                <c:pt idx="162">
                  <c:v>4818</c:v>
                </c:pt>
                <c:pt idx="163">
                  <c:v>5105</c:v>
                </c:pt>
                <c:pt idx="164">
                  <c:v>5404</c:v>
                </c:pt>
                <c:pt idx="165">
                  <c:v>5715</c:v>
                </c:pt>
                <c:pt idx="166">
                  <c:v>6126</c:v>
                </c:pt>
                <c:pt idx="167">
                  <c:v>6537</c:v>
                </c:pt>
                <c:pt idx="168">
                  <c:v>7248</c:v>
                </c:pt>
                <c:pt idx="169">
                  <c:v>7959</c:v>
                </c:pt>
                <c:pt idx="170">
                  <c:v>8770</c:v>
                </c:pt>
                <c:pt idx="171">
                  <c:v>9681</c:v>
                </c:pt>
                <c:pt idx="172">
                  <c:v>10692</c:v>
                </c:pt>
                <c:pt idx="173">
                  <c:v>11803</c:v>
                </c:pt>
                <c:pt idx="174">
                  <c:v>13014</c:v>
                </c:pt>
                <c:pt idx="175">
                  <c:v>14325</c:v>
                </c:pt>
                <c:pt idx="176">
                  <c:v>15736</c:v>
                </c:pt>
                <c:pt idx="177">
                  <c:v>17247</c:v>
                </c:pt>
                <c:pt idx="178">
                  <c:v>18858</c:v>
                </c:pt>
                <c:pt idx="179">
                  <c:v>20569</c:v>
                </c:pt>
                <c:pt idx="180">
                  <c:v>22380</c:v>
                </c:pt>
                <c:pt idx="181">
                  <c:v>24291</c:v>
                </c:pt>
                <c:pt idx="182">
                  <c:v>26302</c:v>
                </c:pt>
                <c:pt idx="183">
                  <c:v>28413</c:v>
                </c:pt>
                <c:pt idx="184">
                  <c:v>30624</c:v>
                </c:pt>
                <c:pt idx="185">
                  <c:v>32935</c:v>
                </c:pt>
                <c:pt idx="186">
                  <c:v>35346</c:v>
                </c:pt>
                <c:pt idx="187">
                  <c:v>37857</c:v>
                </c:pt>
                <c:pt idx="188">
                  <c:v>40468</c:v>
                </c:pt>
                <c:pt idx="189">
                  <c:v>43179</c:v>
                </c:pt>
                <c:pt idx="190">
                  <c:v>45990</c:v>
                </c:pt>
                <c:pt idx="191">
                  <c:v>48901</c:v>
                </c:pt>
                <c:pt idx="192">
                  <c:v>51912</c:v>
                </c:pt>
                <c:pt idx="193">
                  <c:v>55023</c:v>
                </c:pt>
                <c:pt idx="194">
                  <c:v>60000</c:v>
                </c:pt>
                <c:pt idx="195">
                  <c:v>60000</c:v>
                </c:pt>
                <c:pt idx="196">
                  <c:v>60000</c:v>
                </c:pt>
                <c:pt idx="197">
                  <c:v>60000</c:v>
                </c:pt>
                <c:pt idx="198">
                  <c:v>60000</c:v>
                </c:pt>
                <c:pt idx="199">
                  <c:v>60000</c:v>
                </c:pt>
                <c:pt idx="200">
                  <c:v>60000</c:v>
                </c:pt>
              </c:numCache>
            </c:numRef>
          </c:val>
          <c:smooth val="0"/>
          <c:extLst>
            <c:ext xmlns:c16="http://schemas.microsoft.com/office/drawing/2014/chart" uri="{C3380CC4-5D6E-409C-BE32-E72D297353CC}">
              <c16:uniqueId val="{00000002-CC9B-496F-913E-336FCB063D91}"/>
            </c:ext>
          </c:extLst>
        </c:ser>
        <c:dLbls>
          <c:showLegendKey val="0"/>
          <c:showVal val="0"/>
          <c:showCatName val="0"/>
          <c:showSerName val="0"/>
          <c:showPercent val="0"/>
          <c:showBubbleSize val="0"/>
        </c:dLbls>
        <c:marker val="1"/>
        <c:smooth val="0"/>
        <c:axId val="846602607"/>
        <c:axId val="846602191"/>
      </c:lineChart>
      <c:scatterChart>
        <c:scatterStyle val="smoothMarker"/>
        <c:varyColors val="0"/>
        <c:ser>
          <c:idx val="6"/>
          <c:order val="3"/>
          <c:tx>
            <c:strRef>
              <c:f>Graphes_CO2!$G$1</c:f>
              <c:strCache>
                <c:ptCount val="1"/>
                <c:pt idx="0">
                  <c:v>Immats 2024</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yVal>
            <c:numRef>
              <c:f>Graphes_CO2!$G$2:$G$205</c:f>
              <c:numCache>
                <c:formatCode>0.0%</c:formatCode>
                <c:ptCount val="204"/>
                <c:pt idx="0">
                  <c:v>0.16722243682654139</c:v>
                </c:pt>
                <c:pt idx="1">
                  <c:v>0.16722243682654139</c:v>
                </c:pt>
                <c:pt idx="2">
                  <c:v>0.16722243682654139</c:v>
                </c:pt>
                <c:pt idx="3">
                  <c:v>0.16722243682654139</c:v>
                </c:pt>
                <c:pt idx="4">
                  <c:v>0.16722243682654139</c:v>
                </c:pt>
                <c:pt idx="5">
                  <c:v>0.16722243682654139</c:v>
                </c:pt>
                <c:pt idx="6">
                  <c:v>0.16722243682654139</c:v>
                </c:pt>
                <c:pt idx="7">
                  <c:v>0.16722243682654139</c:v>
                </c:pt>
                <c:pt idx="8">
                  <c:v>0.16722243682654139</c:v>
                </c:pt>
                <c:pt idx="9">
                  <c:v>0.16722243682654139</c:v>
                </c:pt>
                <c:pt idx="10">
                  <c:v>1.0986640605998577E-2</c:v>
                </c:pt>
                <c:pt idx="11">
                  <c:v>1.0986640605998577E-2</c:v>
                </c:pt>
                <c:pt idx="12">
                  <c:v>1.0986640605998577E-2</c:v>
                </c:pt>
                <c:pt idx="13">
                  <c:v>1.0986640605998577E-2</c:v>
                </c:pt>
                <c:pt idx="14">
                  <c:v>1.0986640605998577E-2</c:v>
                </c:pt>
                <c:pt idx="15">
                  <c:v>1.0986640605998577E-2</c:v>
                </c:pt>
                <c:pt idx="16">
                  <c:v>1.0986640605998577E-2</c:v>
                </c:pt>
                <c:pt idx="17">
                  <c:v>1.0986640605998577E-2</c:v>
                </c:pt>
                <c:pt idx="18">
                  <c:v>1.0986640605998577E-2</c:v>
                </c:pt>
                <c:pt idx="19">
                  <c:v>1.0986640605998577E-2</c:v>
                </c:pt>
                <c:pt idx="20">
                  <c:v>4.0074880399362127E-2</c:v>
                </c:pt>
                <c:pt idx="21">
                  <c:v>4.0074880399362127E-2</c:v>
                </c:pt>
                <c:pt idx="22">
                  <c:v>4.0074880399362127E-2</c:v>
                </c:pt>
                <c:pt idx="23">
                  <c:v>4.0074880399362127E-2</c:v>
                </c:pt>
                <c:pt idx="24">
                  <c:v>4.0074880399362127E-2</c:v>
                </c:pt>
                <c:pt idx="25">
                  <c:v>4.0074880399362127E-2</c:v>
                </c:pt>
                <c:pt idx="26">
                  <c:v>4.0074880399362127E-2</c:v>
                </c:pt>
                <c:pt idx="27">
                  <c:v>4.0074880399362127E-2</c:v>
                </c:pt>
                <c:pt idx="28">
                  <c:v>4.0074880399362127E-2</c:v>
                </c:pt>
                <c:pt idx="29">
                  <c:v>4.0074880399362127E-2</c:v>
                </c:pt>
                <c:pt idx="30">
                  <c:v>2.2675422522888376E-2</c:v>
                </c:pt>
                <c:pt idx="31">
                  <c:v>2.2675422522888376E-2</c:v>
                </c:pt>
                <c:pt idx="32">
                  <c:v>2.2675422522888376E-2</c:v>
                </c:pt>
                <c:pt idx="33">
                  <c:v>2.2675422522888376E-2</c:v>
                </c:pt>
                <c:pt idx="34">
                  <c:v>2.2675422522888376E-2</c:v>
                </c:pt>
                <c:pt idx="35">
                  <c:v>2.2675422522888376E-2</c:v>
                </c:pt>
                <c:pt idx="36">
                  <c:v>2.2675422522888376E-2</c:v>
                </c:pt>
                <c:pt idx="37">
                  <c:v>2.2675422522888376E-2</c:v>
                </c:pt>
                <c:pt idx="38">
                  <c:v>2.2675422522888376E-2</c:v>
                </c:pt>
                <c:pt idx="39">
                  <c:v>2.2675422522888376E-2</c:v>
                </c:pt>
                <c:pt idx="40">
                  <c:v>1.2139450987124843E-2</c:v>
                </c:pt>
                <c:pt idx="41">
                  <c:v>1.2139450987124843E-2</c:v>
                </c:pt>
                <c:pt idx="42">
                  <c:v>1.2139450987124843E-2</c:v>
                </c:pt>
                <c:pt idx="43">
                  <c:v>1.2139450987124843E-2</c:v>
                </c:pt>
                <c:pt idx="44">
                  <c:v>1.2139450987124843E-2</c:v>
                </c:pt>
                <c:pt idx="45">
                  <c:v>1.2139450987124843E-2</c:v>
                </c:pt>
                <c:pt idx="46">
                  <c:v>1.2139450987124843E-2</c:v>
                </c:pt>
                <c:pt idx="47">
                  <c:v>1.2139450987124843E-2</c:v>
                </c:pt>
                <c:pt idx="48">
                  <c:v>1.2139450987124843E-2</c:v>
                </c:pt>
                <c:pt idx="49">
                  <c:v>1.2139450987124843E-2</c:v>
                </c:pt>
                <c:pt idx="50">
                  <c:v>2.033238357165418E-3</c:v>
                </c:pt>
                <c:pt idx="51">
                  <c:v>2.033238357165418E-3</c:v>
                </c:pt>
                <c:pt idx="52">
                  <c:v>2.033238357165418E-3</c:v>
                </c:pt>
                <c:pt idx="53">
                  <c:v>2.033238357165418E-3</c:v>
                </c:pt>
                <c:pt idx="54">
                  <c:v>2.033238357165418E-3</c:v>
                </c:pt>
                <c:pt idx="55">
                  <c:v>2.033238357165418E-3</c:v>
                </c:pt>
                <c:pt idx="56">
                  <c:v>2.033238357165418E-3</c:v>
                </c:pt>
                <c:pt idx="57">
                  <c:v>2.033238357165418E-3</c:v>
                </c:pt>
                <c:pt idx="58">
                  <c:v>2.033238357165418E-3</c:v>
                </c:pt>
                <c:pt idx="59">
                  <c:v>2.033238357165418E-3</c:v>
                </c:pt>
                <c:pt idx="60">
                  <c:v>6.0309316358681951E-4</c:v>
                </c:pt>
                <c:pt idx="61">
                  <c:v>6.0309316358681951E-4</c:v>
                </c:pt>
                <c:pt idx="62">
                  <c:v>6.0309316358681951E-4</c:v>
                </c:pt>
                <c:pt idx="63">
                  <c:v>6.0309316358681951E-4</c:v>
                </c:pt>
                <c:pt idx="64">
                  <c:v>6.0309316358681951E-4</c:v>
                </c:pt>
                <c:pt idx="65">
                  <c:v>6.0309316358681951E-4</c:v>
                </c:pt>
                <c:pt idx="66">
                  <c:v>6.0309316358681951E-4</c:v>
                </c:pt>
                <c:pt idx="67">
                  <c:v>6.0309316358681951E-4</c:v>
                </c:pt>
                <c:pt idx="68">
                  <c:v>6.0309316358681951E-4</c:v>
                </c:pt>
                <c:pt idx="69">
                  <c:v>6.0309316358681951E-4</c:v>
                </c:pt>
                <c:pt idx="70">
                  <c:v>7.3185575508254554E-4</c:v>
                </c:pt>
                <c:pt idx="71">
                  <c:v>7.3185575508254554E-4</c:v>
                </c:pt>
                <c:pt idx="72">
                  <c:v>7.3185575508254554E-4</c:v>
                </c:pt>
                <c:pt idx="73">
                  <c:v>7.3185575508254554E-4</c:v>
                </c:pt>
                <c:pt idx="74">
                  <c:v>7.3185575508254554E-4</c:v>
                </c:pt>
                <c:pt idx="75">
                  <c:v>7.3185575508254554E-4</c:v>
                </c:pt>
                <c:pt idx="76">
                  <c:v>7.3185575508254554E-4</c:v>
                </c:pt>
                <c:pt idx="77">
                  <c:v>7.3185575508254554E-4</c:v>
                </c:pt>
                <c:pt idx="78">
                  <c:v>7.3185575508254554E-4</c:v>
                </c:pt>
                <c:pt idx="79">
                  <c:v>7.3185575508254554E-4</c:v>
                </c:pt>
                <c:pt idx="80">
                  <c:v>6.817263871968164E-3</c:v>
                </c:pt>
                <c:pt idx="81">
                  <c:v>6.817263871968164E-3</c:v>
                </c:pt>
                <c:pt idx="82">
                  <c:v>6.817263871968164E-3</c:v>
                </c:pt>
                <c:pt idx="83">
                  <c:v>6.817263871968164E-3</c:v>
                </c:pt>
                <c:pt idx="84">
                  <c:v>6.817263871968164E-3</c:v>
                </c:pt>
                <c:pt idx="85">
                  <c:v>6.817263871968164E-3</c:v>
                </c:pt>
                <c:pt idx="86">
                  <c:v>6.817263871968164E-3</c:v>
                </c:pt>
                <c:pt idx="87">
                  <c:v>6.817263871968164E-3</c:v>
                </c:pt>
                <c:pt idx="88">
                  <c:v>6.817263871968164E-3</c:v>
                </c:pt>
                <c:pt idx="89">
                  <c:v>6.817263871968164E-3</c:v>
                </c:pt>
                <c:pt idx="90">
                  <c:v>2.1656877408108084E-2</c:v>
                </c:pt>
                <c:pt idx="91">
                  <c:v>2.1656877408108084E-2</c:v>
                </c:pt>
                <c:pt idx="92">
                  <c:v>2.1656877408108084E-2</c:v>
                </c:pt>
                <c:pt idx="93">
                  <c:v>2.1656877408108084E-2</c:v>
                </c:pt>
                <c:pt idx="94">
                  <c:v>2.1656877408108084E-2</c:v>
                </c:pt>
                <c:pt idx="95">
                  <c:v>2.1656877408108084E-2</c:v>
                </c:pt>
                <c:pt idx="96">
                  <c:v>2.1656877408108084E-2</c:v>
                </c:pt>
                <c:pt idx="97">
                  <c:v>2.1656877408108084E-2</c:v>
                </c:pt>
                <c:pt idx="98">
                  <c:v>2.1656877408108084E-2</c:v>
                </c:pt>
                <c:pt idx="99">
                  <c:v>2.1656877408108084E-2</c:v>
                </c:pt>
                <c:pt idx="100">
                  <c:v>8.6681986113449752E-2</c:v>
                </c:pt>
                <c:pt idx="101">
                  <c:v>8.6681986113449752E-2</c:v>
                </c:pt>
                <c:pt idx="102">
                  <c:v>8.6681986113449752E-2</c:v>
                </c:pt>
                <c:pt idx="103">
                  <c:v>8.6681986113449752E-2</c:v>
                </c:pt>
                <c:pt idx="104">
                  <c:v>8.6681986113449752E-2</c:v>
                </c:pt>
                <c:pt idx="105">
                  <c:v>8.6681986113449752E-2</c:v>
                </c:pt>
                <c:pt idx="106">
                  <c:v>8.6681986113449752E-2</c:v>
                </c:pt>
                <c:pt idx="107">
                  <c:v>8.6681986113449752E-2</c:v>
                </c:pt>
                <c:pt idx="108">
                  <c:v>8.6681986113449752E-2</c:v>
                </c:pt>
                <c:pt idx="109">
                  <c:v>8.6681986113449752E-2</c:v>
                </c:pt>
                <c:pt idx="110">
                  <c:v>0.15647351177407337</c:v>
                </c:pt>
                <c:pt idx="111">
                  <c:v>0.15647351177407337</c:v>
                </c:pt>
                <c:pt idx="112">
                  <c:v>0.15647351177407337</c:v>
                </c:pt>
                <c:pt idx="113">
                  <c:v>0.15647351177407337</c:v>
                </c:pt>
                <c:pt idx="114">
                  <c:v>0.15647351177407337</c:v>
                </c:pt>
                <c:pt idx="115">
                  <c:v>0.15647351177407337</c:v>
                </c:pt>
                <c:pt idx="116">
                  <c:v>0.15647351177407337</c:v>
                </c:pt>
                <c:pt idx="117">
                  <c:v>0.15647351177407337</c:v>
                </c:pt>
                <c:pt idx="118">
                  <c:v>0.15647351177407337</c:v>
                </c:pt>
                <c:pt idx="119">
                  <c:v>0.15647351177407337</c:v>
                </c:pt>
                <c:pt idx="120">
                  <c:v>0.19229702558413644</c:v>
                </c:pt>
                <c:pt idx="121">
                  <c:v>0.19229702558413644</c:v>
                </c:pt>
                <c:pt idx="122">
                  <c:v>0.19229702558413644</c:v>
                </c:pt>
                <c:pt idx="123">
                  <c:v>0.19229702558413644</c:v>
                </c:pt>
                <c:pt idx="124">
                  <c:v>0.19229702558413644</c:v>
                </c:pt>
                <c:pt idx="125">
                  <c:v>0.19229702558413644</c:v>
                </c:pt>
                <c:pt idx="126">
                  <c:v>0.19229702558413644</c:v>
                </c:pt>
                <c:pt idx="127">
                  <c:v>0.19229702558413644</c:v>
                </c:pt>
                <c:pt idx="128">
                  <c:v>0.19229702558413644</c:v>
                </c:pt>
                <c:pt idx="129">
                  <c:v>0.19229702558413644</c:v>
                </c:pt>
                <c:pt idx="130">
                  <c:v>0.15103411768460651</c:v>
                </c:pt>
                <c:pt idx="131">
                  <c:v>0.15103411768460651</c:v>
                </c:pt>
                <c:pt idx="132">
                  <c:v>0.15103411768460651</c:v>
                </c:pt>
                <c:pt idx="133">
                  <c:v>0.15103411768460651</c:v>
                </c:pt>
                <c:pt idx="134">
                  <c:v>0.15103411768460651</c:v>
                </c:pt>
                <c:pt idx="135">
                  <c:v>0.15103411768460651</c:v>
                </c:pt>
                <c:pt idx="136">
                  <c:v>0.15103411768460651</c:v>
                </c:pt>
                <c:pt idx="137">
                  <c:v>0.15103411768460651</c:v>
                </c:pt>
                <c:pt idx="138">
                  <c:v>0.15103411768460651</c:v>
                </c:pt>
                <c:pt idx="139">
                  <c:v>0.15103411768460651</c:v>
                </c:pt>
                <c:pt idx="140">
                  <c:v>8.4829785758857371E-2</c:v>
                </c:pt>
                <c:pt idx="141">
                  <c:v>8.4829785758857371E-2</c:v>
                </c:pt>
                <c:pt idx="142">
                  <c:v>8.4829785758857371E-2</c:v>
                </c:pt>
                <c:pt idx="143">
                  <c:v>8.4829785758857371E-2</c:v>
                </c:pt>
                <c:pt idx="144">
                  <c:v>8.4829785758857371E-2</c:v>
                </c:pt>
                <c:pt idx="145">
                  <c:v>8.4829785758857371E-2</c:v>
                </c:pt>
                <c:pt idx="146">
                  <c:v>8.4829785758857371E-2</c:v>
                </c:pt>
                <c:pt idx="147">
                  <c:v>8.4829785758857371E-2</c:v>
                </c:pt>
                <c:pt idx="148">
                  <c:v>8.4829785758857371E-2</c:v>
                </c:pt>
                <c:pt idx="149">
                  <c:v>8.4829785758857371E-2</c:v>
                </c:pt>
                <c:pt idx="150">
                  <c:v>2.7987704823314617E-2</c:v>
                </c:pt>
                <c:pt idx="151">
                  <c:v>2.7987704823314617E-2</c:v>
                </c:pt>
                <c:pt idx="152">
                  <c:v>2.7987704823314617E-2</c:v>
                </c:pt>
                <c:pt idx="153">
                  <c:v>2.7987704823314617E-2</c:v>
                </c:pt>
                <c:pt idx="154">
                  <c:v>2.7987704823314617E-2</c:v>
                </c:pt>
                <c:pt idx="155">
                  <c:v>2.7987704823314617E-2</c:v>
                </c:pt>
                <c:pt idx="156">
                  <c:v>2.7987704823314617E-2</c:v>
                </c:pt>
                <c:pt idx="157">
                  <c:v>2.7987704823314617E-2</c:v>
                </c:pt>
                <c:pt idx="158">
                  <c:v>2.7987704823314617E-2</c:v>
                </c:pt>
                <c:pt idx="159">
                  <c:v>2.7987704823314617E-2</c:v>
                </c:pt>
                <c:pt idx="160">
                  <c:v>4.0989424959472793E-3</c:v>
                </c:pt>
                <c:pt idx="161">
                  <c:v>4.0989424959472793E-3</c:v>
                </c:pt>
                <c:pt idx="162">
                  <c:v>4.0989424959472793E-3</c:v>
                </c:pt>
                <c:pt idx="163">
                  <c:v>4.0989424959472793E-3</c:v>
                </c:pt>
                <c:pt idx="164">
                  <c:v>4.0989424959472793E-3</c:v>
                </c:pt>
                <c:pt idx="165">
                  <c:v>4.0989424959472793E-3</c:v>
                </c:pt>
                <c:pt idx="166">
                  <c:v>4.0989424959472793E-3</c:v>
                </c:pt>
                <c:pt idx="167">
                  <c:v>4.0989424959472793E-3</c:v>
                </c:pt>
                <c:pt idx="168">
                  <c:v>4.0989424959472793E-3</c:v>
                </c:pt>
                <c:pt idx="169">
                  <c:v>4.0989424959472793E-3</c:v>
                </c:pt>
                <c:pt idx="170">
                  <c:v>1.825787515311193E-3</c:v>
                </c:pt>
                <c:pt idx="171">
                  <c:v>1.825787515311193E-3</c:v>
                </c:pt>
                <c:pt idx="172">
                  <c:v>1.825787515311193E-3</c:v>
                </c:pt>
                <c:pt idx="173">
                  <c:v>1.825787515311193E-3</c:v>
                </c:pt>
                <c:pt idx="174">
                  <c:v>1.825787515311193E-3</c:v>
                </c:pt>
                <c:pt idx="175">
                  <c:v>1.825787515311193E-3</c:v>
                </c:pt>
                <c:pt idx="176">
                  <c:v>1.825787515311193E-3</c:v>
                </c:pt>
                <c:pt idx="177">
                  <c:v>1.825787515311193E-3</c:v>
                </c:pt>
                <c:pt idx="178">
                  <c:v>1.825787515311193E-3</c:v>
                </c:pt>
                <c:pt idx="179">
                  <c:v>1.825787515311193E-3</c:v>
                </c:pt>
                <c:pt idx="180">
                  <c:v>3.7423691656514229E-3</c:v>
                </c:pt>
                <c:pt idx="181">
                  <c:v>3.7423691656514229E-3</c:v>
                </c:pt>
                <c:pt idx="182">
                  <c:v>3.7423691656514229E-3</c:v>
                </c:pt>
                <c:pt idx="183">
                  <c:v>3.7423691656514229E-3</c:v>
                </c:pt>
                <c:pt idx="184">
                  <c:v>3.7423691656514229E-3</c:v>
                </c:pt>
                <c:pt idx="185">
                  <c:v>3.7423691656514229E-3</c:v>
                </c:pt>
                <c:pt idx="186">
                  <c:v>3.7423691656514229E-3</c:v>
                </c:pt>
                <c:pt idx="187">
                  <c:v>3.7423691656514229E-3</c:v>
                </c:pt>
                <c:pt idx="188">
                  <c:v>3.7423691656514229E-3</c:v>
                </c:pt>
                <c:pt idx="189">
                  <c:v>3.7423691656514229E-3</c:v>
                </c:pt>
                <c:pt idx="190">
                  <c:v>2.4784047525502144E-3</c:v>
                </c:pt>
                <c:pt idx="191">
                  <c:v>2.4784047525502144E-3</c:v>
                </c:pt>
                <c:pt idx="192">
                  <c:v>2.4784047525502144E-3</c:v>
                </c:pt>
                <c:pt idx="193">
                  <c:v>2.4784047525502144E-3</c:v>
                </c:pt>
                <c:pt idx="194">
                  <c:v>2.4784047525502144E-3</c:v>
                </c:pt>
                <c:pt idx="195">
                  <c:v>2.4784047525502144E-3</c:v>
                </c:pt>
                <c:pt idx="196">
                  <c:v>2.4784047525502144E-3</c:v>
                </c:pt>
                <c:pt idx="197">
                  <c:v>2.4784047525502144E-3</c:v>
                </c:pt>
                <c:pt idx="198">
                  <c:v>2.4784047525502144E-3</c:v>
                </c:pt>
                <c:pt idx="199">
                  <c:v>2.4784047525502144E-3</c:v>
                </c:pt>
              </c:numCache>
            </c:numRef>
          </c:yVal>
          <c:smooth val="1"/>
          <c:extLst>
            <c:ext xmlns:c16="http://schemas.microsoft.com/office/drawing/2014/chart" uri="{C3380CC4-5D6E-409C-BE32-E72D297353CC}">
              <c16:uniqueId val="{00000003-CC9B-496F-913E-336FCB063D91}"/>
            </c:ext>
          </c:extLst>
        </c:ser>
        <c:dLbls>
          <c:showLegendKey val="0"/>
          <c:showVal val="0"/>
          <c:showCatName val="0"/>
          <c:showSerName val="0"/>
          <c:showPercent val="0"/>
          <c:showBubbleSize val="0"/>
        </c:dLbls>
        <c:axId val="846601775"/>
        <c:axId val="846600111"/>
      </c:scatterChart>
      <c:catAx>
        <c:axId val="846602607"/>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a:t>Emissions de CO2 (g/km)</a:t>
                </a:r>
              </a:p>
            </c:rich>
          </c:tx>
          <c:layout>
            <c:manualLayout>
              <c:xMode val="edge"/>
              <c:yMode val="edge"/>
              <c:x val="0.36049365357108148"/>
              <c:y val="0.76155197651671058"/>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846602191"/>
        <c:crosses val="autoZero"/>
        <c:auto val="1"/>
        <c:lblAlgn val="ctr"/>
        <c:lblOffset val="100"/>
        <c:tickLblSkip val="20"/>
        <c:noMultiLvlLbl val="0"/>
      </c:catAx>
      <c:valAx>
        <c:axId val="84660219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a:t>Montant du malus CO2</a:t>
                </a:r>
              </a:p>
            </c:rich>
          </c:tx>
          <c:layout>
            <c:manualLayout>
              <c:xMode val="edge"/>
              <c:yMode val="edge"/>
              <c:x val="1.3534994819697036E-2"/>
              <c:y val="0.14204536793288031"/>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 &quot;€&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846602607"/>
        <c:crosses val="autoZero"/>
        <c:crossBetween val="between"/>
      </c:valAx>
      <c:valAx>
        <c:axId val="846600111"/>
        <c:scaling>
          <c:orientation val="minMax"/>
          <c:min val="0"/>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a:t>Part des immatriculations neuves</a:t>
                </a:r>
              </a:p>
            </c:rich>
          </c:tx>
          <c:layout>
            <c:manualLayout>
              <c:xMode val="edge"/>
              <c:yMode val="edge"/>
              <c:x val="0.92865957400082177"/>
              <c:y val="0.14204536793288031"/>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846601775"/>
        <c:crosses val="max"/>
        <c:crossBetween val="midCat"/>
      </c:valAx>
      <c:valAx>
        <c:axId val="846601775"/>
        <c:scaling>
          <c:orientation val="minMax"/>
        </c:scaling>
        <c:delete val="1"/>
        <c:axPos val="b"/>
        <c:majorTickMark val="out"/>
        <c:minorTickMark val="none"/>
        <c:tickLblPos val="nextTo"/>
        <c:crossAx val="846600111"/>
        <c:crosses val="autoZero"/>
        <c:crossBetween val="midCat"/>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0" i="0" baseline="0" dirty="0">
                <a:effectLst/>
              </a:rPr>
              <a:t>Scale of the mass penalty for thermal vehicles and distribution of registrations</a:t>
            </a:r>
            <a:endParaRPr lang="fr-FR" sz="1050" dirty="0">
              <a:effectLst/>
            </a:endParaRPr>
          </a:p>
        </c:rich>
      </c:tx>
      <c:layout>
        <c:manualLayout>
          <c:xMode val="edge"/>
          <c:yMode val="edge"/>
          <c:x val="0.14100938967136151"/>
          <c:y val="2.3419203747072601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e-DE"/>
        </a:p>
      </c:txPr>
    </c:title>
    <c:autoTitleDeleted val="0"/>
    <c:plotArea>
      <c:layout/>
      <c:lineChart>
        <c:grouping val="standard"/>
        <c:varyColors val="0"/>
        <c:ser>
          <c:idx val="0"/>
          <c:order val="0"/>
          <c:tx>
            <c:strRef>
              <c:f>'[Graphes_note_Evolutions_malus-1.xlsx]Données_graphe_MASSE'!$B$6</c:f>
              <c:strCache>
                <c:ptCount val="1"/>
                <c:pt idx="0">
                  <c:v>Barème 2023</c:v>
                </c:pt>
              </c:strCache>
            </c:strRef>
          </c:tx>
          <c:spPr>
            <a:ln w="28575" cap="rnd">
              <a:solidFill>
                <a:srgbClr val="FF0000"/>
              </a:solidFill>
              <a:round/>
            </a:ln>
            <a:effectLst/>
          </c:spPr>
          <c:marker>
            <c:symbol val="none"/>
          </c:marker>
          <c:cat>
            <c:numRef>
              <c:f>'[Graphes_note_Evolutions_malus-1.xlsx]Données_graphe_MASSE'!$A$7:$A$2407</c:f>
              <c:numCache>
                <c:formatCode>_-* #\ ##0_-;\-* #\ ##0_-;_-* "-"??_-;_-@_-</c:formatCode>
                <c:ptCount val="2401"/>
                <c:pt idx="0" formatCode="#\ ##0_ ;\-#\ ##0\ ">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pt idx="251">
                  <c:v>251</c:v>
                </c:pt>
                <c:pt idx="252">
                  <c:v>252</c:v>
                </c:pt>
                <c:pt idx="253">
                  <c:v>253</c:v>
                </c:pt>
                <c:pt idx="254">
                  <c:v>254</c:v>
                </c:pt>
                <c:pt idx="255">
                  <c:v>255</c:v>
                </c:pt>
                <c:pt idx="256">
                  <c:v>256</c:v>
                </c:pt>
                <c:pt idx="257">
                  <c:v>257</c:v>
                </c:pt>
                <c:pt idx="258">
                  <c:v>258</c:v>
                </c:pt>
                <c:pt idx="259">
                  <c:v>259</c:v>
                </c:pt>
                <c:pt idx="260">
                  <c:v>260</c:v>
                </c:pt>
                <c:pt idx="261">
                  <c:v>261</c:v>
                </c:pt>
                <c:pt idx="262">
                  <c:v>262</c:v>
                </c:pt>
                <c:pt idx="263">
                  <c:v>263</c:v>
                </c:pt>
                <c:pt idx="264">
                  <c:v>264</c:v>
                </c:pt>
                <c:pt idx="265">
                  <c:v>265</c:v>
                </c:pt>
                <c:pt idx="266">
                  <c:v>266</c:v>
                </c:pt>
                <c:pt idx="267">
                  <c:v>267</c:v>
                </c:pt>
                <c:pt idx="268">
                  <c:v>268</c:v>
                </c:pt>
                <c:pt idx="269">
                  <c:v>269</c:v>
                </c:pt>
                <c:pt idx="270">
                  <c:v>270</c:v>
                </c:pt>
                <c:pt idx="271">
                  <c:v>271</c:v>
                </c:pt>
                <c:pt idx="272">
                  <c:v>272</c:v>
                </c:pt>
                <c:pt idx="273">
                  <c:v>273</c:v>
                </c:pt>
                <c:pt idx="274">
                  <c:v>274</c:v>
                </c:pt>
                <c:pt idx="275">
                  <c:v>275</c:v>
                </c:pt>
                <c:pt idx="276">
                  <c:v>276</c:v>
                </c:pt>
                <c:pt idx="277">
                  <c:v>277</c:v>
                </c:pt>
                <c:pt idx="278">
                  <c:v>278</c:v>
                </c:pt>
                <c:pt idx="279">
                  <c:v>279</c:v>
                </c:pt>
                <c:pt idx="280">
                  <c:v>280</c:v>
                </c:pt>
                <c:pt idx="281">
                  <c:v>281</c:v>
                </c:pt>
                <c:pt idx="282">
                  <c:v>282</c:v>
                </c:pt>
                <c:pt idx="283">
                  <c:v>283</c:v>
                </c:pt>
                <c:pt idx="284">
                  <c:v>284</c:v>
                </c:pt>
                <c:pt idx="285">
                  <c:v>285</c:v>
                </c:pt>
                <c:pt idx="286">
                  <c:v>286</c:v>
                </c:pt>
                <c:pt idx="287">
                  <c:v>287</c:v>
                </c:pt>
                <c:pt idx="288">
                  <c:v>288</c:v>
                </c:pt>
                <c:pt idx="289">
                  <c:v>289</c:v>
                </c:pt>
                <c:pt idx="290">
                  <c:v>290</c:v>
                </c:pt>
                <c:pt idx="291">
                  <c:v>291</c:v>
                </c:pt>
                <c:pt idx="292">
                  <c:v>292</c:v>
                </c:pt>
                <c:pt idx="293">
                  <c:v>293</c:v>
                </c:pt>
                <c:pt idx="294">
                  <c:v>294</c:v>
                </c:pt>
                <c:pt idx="295">
                  <c:v>295</c:v>
                </c:pt>
                <c:pt idx="296">
                  <c:v>296</c:v>
                </c:pt>
                <c:pt idx="297">
                  <c:v>297</c:v>
                </c:pt>
                <c:pt idx="298">
                  <c:v>298</c:v>
                </c:pt>
                <c:pt idx="299">
                  <c:v>299</c:v>
                </c:pt>
                <c:pt idx="300">
                  <c:v>300</c:v>
                </c:pt>
                <c:pt idx="301">
                  <c:v>301</c:v>
                </c:pt>
                <c:pt idx="302">
                  <c:v>302</c:v>
                </c:pt>
                <c:pt idx="303">
                  <c:v>303</c:v>
                </c:pt>
                <c:pt idx="304">
                  <c:v>304</c:v>
                </c:pt>
                <c:pt idx="305">
                  <c:v>305</c:v>
                </c:pt>
                <c:pt idx="306">
                  <c:v>306</c:v>
                </c:pt>
                <c:pt idx="307">
                  <c:v>307</c:v>
                </c:pt>
                <c:pt idx="308">
                  <c:v>308</c:v>
                </c:pt>
                <c:pt idx="309">
                  <c:v>309</c:v>
                </c:pt>
                <c:pt idx="310">
                  <c:v>310</c:v>
                </c:pt>
                <c:pt idx="311">
                  <c:v>311</c:v>
                </c:pt>
                <c:pt idx="312">
                  <c:v>312</c:v>
                </c:pt>
                <c:pt idx="313">
                  <c:v>313</c:v>
                </c:pt>
                <c:pt idx="314">
                  <c:v>314</c:v>
                </c:pt>
                <c:pt idx="315">
                  <c:v>315</c:v>
                </c:pt>
                <c:pt idx="316">
                  <c:v>316</c:v>
                </c:pt>
                <c:pt idx="317">
                  <c:v>317</c:v>
                </c:pt>
                <c:pt idx="318">
                  <c:v>318</c:v>
                </c:pt>
                <c:pt idx="319">
                  <c:v>319</c:v>
                </c:pt>
                <c:pt idx="320">
                  <c:v>320</c:v>
                </c:pt>
                <c:pt idx="321">
                  <c:v>321</c:v>
                </c:pt>
                <c:pt idx="322">
                  <c:v>322</c:v>
                </c:pt>
                <c:pt idx="323">
                  <c:v>323</c:v>
                </c:pt>
                <c:pt idx="324">
                  <c:v>324</c:v>
                </c:pt>
                <c:pt idx="325">
                  <c:v>325</c:v>
                </c:pt>
                <c:pt idx="326">
                  <c:v>326</c:v>
                </c:pt>
                <c:pt idx="327">
                  <c:v>327</c:v>
                </c:pt>
                <c:pt idx="328">
                  <c:v>328</c:v>
                </c:pt>
                <c:pt idx="329">
                  <c:v>329</c:v>
                </c:pt>
                <c:pt idx="330">
                  <c:v>330</c:v>
                </c:pt>
                <c:pt idx="331">
                  <c:v>331</c:v>
                </c:pt>
                <c:pt idx="332">
                  <c:v>332</c:v>
                </c:pt>
                <c:pt idx="333">
                  <c:v>333</c:v>
                </c:pt>
                <c:pt idx="334">
                  <c:v>334</c:v>
                </c:pt>
                <c:pt idx="335">
                  <c:v>335</c:v>
                </c:pt>
                <c:pt idx="336">
                  <c:v>336</c:v>
                </c:pt>
                <c:pt idx="337">
                  <c:v>337</c:v>
                </c:pt>
                <c:pt idx="338">
                  <c:v>338</c:v>
                </c:pt>
                <c:pt idx="339">
                  <c:v>339</c:v>
                </c:pt>
                <c:pt idx="340">
                  <c:v>340</c:v>
                </c:pt>
                <c:pt idx="341">
                  <c:v>341</c:v>
                </c:pt>
                <c:pt idx="342">
                  <c:v>342</c:v>
                </c:pt>
                <c:pt idx="343">
                  <c:v>343</c:v>
                </c:pt>
                <c:pt idx="344">
                  <c:v>344</c:v>
                </c:pt>
                <c:pt idx="345">
                  <c:v>345</c:v>
                </c:pt>
                <c:pt idx="346">
                  <c:v>346</c:v>
                </c:pt>
                <c:pt idx="347">
                  <c:v>347</c:v>
                </c:pt>
                <c:pt idx="348">
                  <c:v>348</c:v>
                </c:pt>
                <c:pt idx="349">
                  <c:v>349</c:v>
                </c:pt>
                <c:pt idx="350">
                  <c:v>350</c:v>
                </c:pt>
                <c:pt idx="351">
                  <c:v>351</c:v>
                </c:pt>
                <c:pt idx="352">
                  <c:v>352</c:v>
                </c:pt>
                <c:pt idx="353">
                  <c:v>353</c:v>
                </c:pt>
                <c:pt idx="354">
                  <c:v>354</c:v>
                </c:pt>
                <c:pt idx="355">
                  <c:v>355</c:v>
                </c:pt>
                <c:pt idx="356">
                  <c:v>356</c:v>
                </c:pt>
                <c:pt idx="357">
                  <c:v>357</c:v>
                </c:pt>
                <c:pt idx="358">
                  <c:v>358</c:v>
                </c:pt>
                <c:pt idx="359">
                  <c:v>359</c:v>
                </c:pt>
                <c:pt idx="360">
                  <c:v>360</c:v>
                </c:pt>
                <c:pt idx="361">
                  <c:v>361</c:v>
                </c:pt>
                <c:pt idx="362">
                  <c:v>362</c:v>
                </c:pt>
                <c:pt idx="363">
                  <c:v>363</c:v>
                </c:pt>
                <c:pt idx="364">
                  <c:v>364</c:v>
                </c:pt>
                <c:pt idx="365">
                  <c:v>365</c:v>
                </c:pt>
                <c:pt idx="366">
                  <c:v>366</c:v>
                </c:pt>
                <c:pt idx="367">
                  <c:v>367</c:v>
                </c:pt>
                <c:pt idx="368">
                  <c:v>368</c:v>
                </c:pt>
                <c:pt idx="369">
                  <c:v>369</c:v>
                </c:pt>
                <c:pt idx="370">
                  <c:v>370</c:v>
                </c:pt>
                <c:pt idx="371">
                  <c:v>371</c:v>
                </c:pt>
                <c:pt idx="372">
                  <c:v>372</c:v>
                </c:pt>
                <c:pt idx="373">
                  <c:v>373</c:v>
                </c:pt>
                <c:pt idx="374">
                  <c:v>374</c:v>
                </c:pt>
                <c:pt idx="375">
                  <c:v>375</c:v>
                </c:pt>
                <c:pt idx="376">
                  <c:v>376</c:v>
                </c:pt>
                <c:pt idx="377">
                  <c:v>377</c:v>
                </c:pt>
                <c:pt idx="378">
                  <c:v>378</c:v>
                </c:pt>
                <c:pt idx="379">
                  <c:v>379</c:v>
                </c:pt>
                <c:pt idx="380">
                  <c:v>380</c:v>
                </c:pt>
                <c:pt idx="381">
                  <c:v>381</c:v>
                </c:pt>
                <c:pt idx="382">
                  <c:v>382</c:v>
                </c:pt>
                <c:pt idx="383">
                  <c:v>383</c:v>
                </c:pt>
                <c:pt idx="384">
                  <c:v>384</c:v>
                </c:pt>
                <c:pt idx="385">
                  <c:v>385</c:v>
                </c:pt>
                <c:pt idx="386">
                  <c:v>386</c:v>
                </c:pt>
                <c:pt idx="387">
                  <c:v>387</c:v>
                </c:pt>
                <c:pt idx="388">
                  <c:v>388</c:v>
                </c:pt>
                <c:pt idx="389">
                  <c:v>389</c:v>
                </c:pt>
                <c:pt idx="390">
                  <c:v>390</c:v>
                </c:pt>
                <c:pt idx="391">
                  <c:v>391</c:v>
                </c:pt>
                <c:pt idx="392">
                  <c:v>392</c:v>
                </c:pt>
                <c:pt idx="393">
                  <c:v>393</c:v>
                </c:pt>
                <c:pt idx="394">
                  <c:v>394</c:v>
                </c:pt>
                <c:pt idx="395">
                  <c:v>395</c:v>
                </c:pt>
                <c:pt idx="396">
                  <c:v>396</c:v>
                </c:pt>
                <c:pt idx="397">
                  <c:v>397</c:v>
                </c:pt>
                <c:pt idx="398">
                  <c:v>398</c:v>
                </c:pt>
                <c:pt idx="399">
                  <c:v>399</c:v>
                </c:pt>
                <c:pt idx="400">
                  <c:v>400</c:v>
                </c:pt>
                <c:pt idx="401">
                  <c:v>401</c:v>
                </c:pt>
                <c:pt idx="402">
                  <c:v>402</c:v>
                </c:pt>
                <c:pt idx="403">
                  <c:v>403</c:v>
                </c:pt>
                <c:pt idx="404">
                  <c:v>404</c:v>
                </c:pt>
                <c:pt idx="405">
                  <c:v>405</c:v>
                </c:pt>
                <c:pt idx="406">
                  <c:v>406</c:v>
                </c:pt>
                <c:pt idx="407">
                  <c:v>407</c:v>
                </c:pt>
                <c:pt idx="408">
                  <c:v>408</c:v>
                </c:pt>
                <c:pt idx="409">
                  <c:v>409</c:v>
                </c:pt>
                <c:pt idx="410">
                  <c:v>410</c:v>
                </c:pt>
                <c:pt idx="411">
                  <c:v>411</c:v>
                </c:pt>
                <c:pt idx="412">
                  <c:v>412</c:v>
                </c:pt>
                <c:pt idx="413">
                  <c:v>413</c:v>
                </c:pt>
                <c:pt idx="414">
                  <c:v>414</c:v>
                </c:pt>
                <c:pt idx="415">
                  <c:v>415</c:v>
                </c:pt>
                <c:pt idx="416">
                  <c:v>416</c:v>
                </c:pt>
                <c:pt idx="417">
                  <c:v>417</c:v>
                </c:pt>
                <c:pt idx="418">
                  <c:v>418</c:v>
                </c:pt>
                <c:pt idx="419">
                  <c:v>419</c:v>
                </c:pt>
                <c:pt idx="420">
                  <c:v>420</c:v>
                </c:pt>
                <c:pt idx="421">
                  <c:v>421</c:v>
                </c:pt>
                <c:pt idx="422">
                  <c:v>422</c:v>
                </c:pt>
                <c:pt idx="423">
                  <c:v>423</c:v>
                </c:pt>
                <c:pt idx="424">
                  <c:v>424</c:v>
                </c:pt>
                <c:pt idx="425">
                  <c:v>425</c:v>
                </c:pt>
                <c:pt idx="426">
                  <c:v>426</c:v>
                </c:pt>
                <c:pt idx="427">
                  <c:v>427</c:v>
                </c:pt>
                <c:pt idx="428">
                  <c:v>428</c:v>
                </c:pt>
                <c:pt idx="429">
                  <c:v>429</c:v>
                </c:pt>
                <c:pt idx="430">
                  <c:v>430</c:v>
                </c:pt>
                <c:pt idx="431">
                  <c:v>431</c:v>
                </c:pt>
                <c:pt idx="432">
                  <c:v>432</c:v>
                </c:pt>
                <c:pt idx="433">
                  <c:v>433</c:v>
                </c:pt>
                <c:pt idx="434">
                  <c:v>434</c:v>
                </c:pt>
                <c:pt idx="435">
                  <c:v>435</c:v>
                </c:pt>
                <c:pt idx="436">
                  <c:v>436</c:v>
                </c:pt>
                <c:pt idx="437">
                  <c:v>437</c:v>
                </c:pt>
                <c:pt idx="438">
                  <c:v>438</c:v>
                </c:pt>
                <c:pt idx="439">
                  <c:v>439</c:v>
                </c:pt>
                <c:pt idx="440">
                  <c:v>440</c:v>
                </c:pt>
                <c:pt idx="441">
                  <c:v>441</c:v>
                </c:pt>
                <c:pt idx="442">
                  <c:v>442</c:v>
                </c:pt>
                <c:pt idx="443">
                  <c:v>443</c:v>
                </c:pt>
                <c:pt idx="444">
                  <c:v>444</c:v>
                </c:pt>
                <c:pt idx="445">
                  <c:v>445</c:v>
                </c:pt>
                <c:pt idx="446">
                  <c:v>446</c:v>
                </c:pt>
                <c:pt idx="447">
                  <c:v>447</c:v>
                </c:pt>
                <c:pt idx="448">
                  <c:v>448</c:v>
                </c:pt>
                <c:pt idx="449">
                  <c:v>449</c:v>
                </c:pt>
                <c:pt idx="450">
                  <c:v>450</c:v>
                </c:pt>
                <c:pt idx="451">
                  <c:v>451</c:v>
                </c:pt>
                <c:pt idx="452">
                  <c:v>452</c:v>
                </c:pt>
                <c:pt idx="453">
                  <c:v>453</c:v>
                </c:pt>
                <c:pt idx="454">
                  <c:v>454</c:v>
                </c:pt>
                <c:pt idx="455">
                  <c:v>455</c:v>
                </c:pt>
                <c:pt idx="456">
                  <c:v>456</c:v>
                </c:pt>
                <c:pt idx="457">
                  <c:v>457</c:v>
                </c:pt>
                <c:pt idx="458">
                  <c:v>458</c:v>
                </c:pt>
                <c:pt idx="459">
                  <c:v>459</c:v>
                </c:pt>
                <c:pt idx="460">
                  <c:v>460</c:v>
                </c:pt>
                <c:pt idx="461">
                  <c:v>461</c:v>
                </c:pt>
                <c:pt idx="462">
                  <c:v>462</c:v>
                </c:pt>
                <c:pt idx="463">
                  <c:v>463</c:v>
                </c:pt>
                <c:pt idx="464">
                  <c:v>464</c:v>
                </c:pt>
                <c:pt idx="465">
                  <c:v>465</c:v>
                </c:pt>
                <c:pt idx="466">
                  <c:v>466</c:v>
                </c:pt>
                <c:pt idx="467">
                  <c:v>467</c:v>
                </c:pt>
                <c:pt idx="468">
                  <c:v>468</c:v>
                </c:pt>
                <c:pt idx="469">
                  <c:v>469</c:v>
                </c:pt>
                <c:pt idx="470">
                  <c:v>470</c:v>
                </c:pt>
                <c:pt idx="471">
                  <c:v>471</c:v>
                </c:pt>
                <c:pt idx="472">
                  <c:v>472</c:v>
                </c:pt>
                <c:pt idx="473">
                  <c:v>473</c:v>
                </c:pt>
                <c:pt idx="474">
                  <c:v>474</c:v>
                </c:pt>
                <c:pt idx="475">
                  <c:v>475</c:v>
                </c:pt>
                <c:pt idx="476">
                  <c:v>476</c:v>
                </c:pt>
                <c:pt idx="477">
                  <c:v>477</c:v>
                </c:pt>
                <c:pt idx="478">
                  <c:v>478</c:v>
                </c:pt>
                <c:pt idx="479">
                  <c:v>479</c:v>
                </c:pt>
                <c:pt idx="480">
                  <c:v>480</c:v>
                </c:pt>
                <c:pt idx="481">
                  <c:v>481</c:v>
                </c:pt>
                <c:pt idx="482">
                  <c:v>482</c:v>
                </c:pt>
                <c:pt idx="483">
                  <c:v>483</c:v>
                </c:pt>
                <c:pt idx="484">
                  <c:v>484</c:v>
                </c:pt>
                <c:pt idx="485">
                  <c:v>485</c:v>
                </c:pt>
                <c:pt idx="486">
                  <c:v>486</c:v>
                </c:pt>
                <c:pt idx="487">
                  <c:v>487</c:v>
                </c:pt>
                <c:pt idx="488">
                  <c:v>488</c:v>
                </c:pt>
                <c:pt idx="489">
                  <c:v>489</c:v>
                </c:pt>
                <c:pt idx="490">
                  <c:v>490</c:v>
                </c:pt>
                <c:pt idx="491">
                  <c:v>491</c:v>
                </c:pt>
                <c:pt idx="492">
                  <c:v>492</c:v>
                </c:pt>
                <c:pt idx="493">
                  <c:v>493</c:v>
                </c:pt>
                <c:pt idx="494">
                  <c:v>494</c:v>
                </c:pt>
                <c:pt idx="495">
                  <c:v>495</c:v>
                </c:pt>
                <c:pt idx="496">
                  <c:v>496</c:v>
                </c:pt>
                <c:pt idx="497">
                  <c:v>497</c:v>
                </c:pt>
                <c:pt idx="498">
                  <c:v>498</c:v>
                </c:pt>
                <c:pt idx="499">
                  <c:v>499</c:v>
                </c:pt>
                <c:pt idx="500">
                  <c:v>500</c:v>
                </c:pt>
                <c:pt idx="501">
                  <c:v>501</c:v>
                </c:pt>
                <c:pt idx="502">
                  <c:v>502</c:v>
                </c:pt>
                <c:pt idx="503">
                  <c:v>503</c:v>
                </c:pt>
                <c:pt idx="504">
                  <c:v>504</c:v>
                </c:pt>
                <c:pt idx="505">
                  <c:v>505</c:v>
                </c:pt>
                <c:pt idx="506">
                  <c:v>506</c:v>
                </c:pt>
                <c:pt idx="507">
                  <c:v>507</c:v>
                </c:pt>
                <c:pt idx="508">
                  <c:v>508</c:v>
                </c:pt>
                <c:pt idx="509">
                  <c:v>509</c:v>
                </c:pt>
                <c:pt idx="510">
                  <c:v>510</c:v>
                </c:pt>
                <c:pt idx="511">
                  <c:v>511</c:v>
                </c:pt>
                <c:pt idx="512">
                  <c:v>512</c:v>
                </c:pt>
                <c:pt idx="513">
                  <c:v>513</c:v>
                </c:pt>
                <c:pt idx="514">
                  <c:v>514</c:v>
                </c:pt>
                <c:pt idx="515">
                  <c:v>515</c:v>
                </c:pt>
                <c:pt idx="516">
                  <c:v>516</c:v>
                </c:pt>
                <c:pt idx="517">
                  <c:v>517</c:v>
                </c:pt>
                <c:pt idx="518">
                  <c:v>518</c:v>
                </c:pt>
                <c:pt idx="519">
                  <c:v>519</c:v>
                </c:pt>
                <c:pt idx="520">
                  <c:v>520</c:v>
                </c:pt>
                <c:pt idx="521">
                  <c:v>521</c:v>
                </c:pt>
                <c:pt idx="522">
                  <c:v>522</c:v>
                </c:pt>
                <c:pt idx="523">
                  <c:v>523</c:v>
                </c:pt>
                <c:pt idx="524">
                  <c:v>524</c:v>
                </c:pt>
                <c:pt idx="525">
                  <c:v>525</c:v>
                </c:pt>
                <c:pt idx="526">
                  <c:v>526</c:v>
                </c:pt>
                <c:pt idx="527">
                  <c:v>527</c:v>
                </c:pt>
                <c:pt idx="528">
                  <c:v>528</c:v>
                </c:pt>
                <c:pt idx="529">
                  <c:v>529</c:v>
                </c:pt>
                <c:pt idx="530">
                  <c:v>530</c:v>
                </c:pt>
                <c:pt idx="531">
                  <c:v>531</c:v>
                </c:pt>
                <c:pt idx="532">
                  <c:v>532</c:v>
                </c:pt>
                <c:pt idx="533">
                  <c:v>533</c:v>
                </c:pt>
                <c:pt idx="534">
                  <c:v>534</c:v>
                </c:pt>
                <c:pt idx="535">
                  <c:v>535</c:v>
                </c:pt>
                <c:pt idx="536">
                  <c:v>536</c:v>
                </c:pt>
                <c:pt idx="537">
                  <c:v>537</c:v>
                </c:pt>
                <c:pt idx="538">
                  <c:v>538</c:v>
                </c:pt>
                <c:pt idx="539">
                  <c:v>539</c:v>
                </c:pt>
                <c:pt idx="540">
                  <c:v>540</c:v>
                </c:pt>
                <c:pt idx="541">
                  <c:v>541</c:v>
                </c:pt>
                <c:pt idx="542">
                  <c:v>542</c:v>
                </c:pt>
                <c:pt idx="543">
                  <c:v>543</c:v>
                </c:pt>
                <c:pt idx="544">
                  <c:v>544</c:v>
                </c:pt>
                <c:pt idx="545">
                  <c:v>545</c:v>
                </c:pt>
                <c:pt idx="546">
                  <c:v>546</c:v>
                </c:pt>
                <c:pt idx="547">
                  <c:v>547</c:v>
                </c:pt>
                <c:pt idx="548">
                  <c:v>548</c:v>
                </c:pt>
                <c:pt idx="549">
                  <c:v>549</c:v>
                </c:pt>
                <c:pt idx="550">
                  <c:v>550</c:v>
                </c:pt>
                <c:pt idx="551">
                  <c:v>551</c:v>
                </c:pt>
                <c:pt idx="552">
                  <c:v>552</c:v>
                </c:pt>
                <c:pt idx="553">
                  <c:v>553</c:v>
                </c:pt>
                <c:pt idx="554">
                  <c:v>554</c:v>
                </c:pt>
                <c:pt idx="555">
                  <c:v>555</c:v>
                </c:pt>
                <c:pt idx="556">
                  <c:v>556</c:v>
                </c:pt>
                <c:pt idx="557">
                  <c:v>557</c:v>
                </c:pt>
                <c:pt idx="558">
                  <c:v>558</c:v>
                </c:pt>
                <c:pt idx="559">
                  <c:v>559</c:v>
                </c:pt>
                <c:pt idx="560">
                  <c:v>560</c:v>
                </c:pt>
                <c:pt idx="561">
                  <c:v>561</c:v>
                </c:pt>
                <c:pt idx="562">
                  <c:v>562</c:v>
                </c:pt>
                <c:pt idx="563">
                  <c:v>563</c:v>
                </c:pt>
                <c:pt idx="564">
                  <c:v>564</c:v>
                </c:pt>
                <c:pt idx="565">
                  <c:v>565</c:v>
                </c:pt>
                <c:pt idx="566">
                  <c:v>566</c:v>
                </c:pt>
                <c:pt idx="567">
                  <c:v>567</c:v>
                </c:pt>
                <c:pt idx="568">
                  <c:v>568</c:v>
                </c:pt>
                <c:pt idx="569">
                  <c:v>569</c:v>
                </c:pt>
                <c:pt idx="570">
                  <c:v>570</c:v>
                </c:pt>
                <c:pt idx="571">
                  <c:v>571</c:v>
                </c:pt>
                <c:pt idx="572">
                  <c:v>572</c:v>
                </c:pt>
                <c:pt idx="573">
                  <c:v>573</c:v>
                </c:pt>
                <c:pt idx="574">
                  <c:v>574</c:v>
                </c:pt>
                <c:pt idx="575">
                  <c:v>575</c:v>
                </c:pt>
                <c:pt idx="576">
                  <c:v>576</c:v>
                </c:pt>
                <c:pt idx="577">
                  <c:v>577</c:v>
                </c:pt>
                <c:pt idx="578">
                  <c:v>578</c:v>
                </c:pt>
                <c:pt idx="579">
                  <c:v>579</c:v>
                </c:pt>
                <c:pt idx="580">
                  <c:v>580</c:v>
                </c:pt>
                <c:pt idx="581">
                  <c:v>581</c:v>
                </c:pt>
                <c:pt idx="582">
                  <c:v>582</c:v>
                </c:pt>
                <c:pt idx="583">
                  <c:v>583</c:v>
                </c:pt>
                <c:pt idx="584">
                  <c:v>584</c:v>
                </c:pt>
                <c:pt idx="585">
                  <c:v>585</c:v>
                </c:pt>
                <c:pt idx="586">
                  <c:v>586</c:v>
                </c:pt>
                <c:pt idx="587">
                  <c:v>587</c:v>
                </c:pt>
                <c:pt idx="588">
                  <c:v>588</c:v>
                </c:pt>
                <c:pt idx="589">
                  <c:v>589</c:v>
                </c:pt>
                <c:pt idx="590">
                  <c:v>590</c:v>
                </c:pt>
                <c:pt idx="591">
                  <c:v>591</c:v>
                </c:pt>
                <c:pt idx="592">
                  <c:v>592</c:v>
                </c:pt>
                <c:pt idx="593">
                  <c:v>593</c:v>
                </c:pt>
                <c:pt idx="594">
                  <c:v>594</c:v>
                </c:pt>
                <c:pt idx="595">
                  <c:v>595</c:v>
                </c:pt>
                <c:pt idx="596">
                  <c:v>596</c:v>
                </c:pt>
                <c:pt idx="597">
                  <c:v>597</c:v>
                </c:pt>
                <c:pt idx="598">
                  <c:v>598</c:v>
                </c:pt>
                <c:pt idx="599">
                  <c:v>599</c:v>
                </c:pt>
                <c:pt idx="600">
                  <c:v>600</c:v>
                </c:pt>
                <c:pt idx="601">
                  <c:v>601</c:v>
                </c:pt>
                <c:pt idx="602">
                  <c:v>602</c:v>
                </c:pt>
                <c:pt idx="603">
                  <c:v>603</c:v>
                </c:pt>
                <c:pt idx="604">
                  <c:v>604</c:v>
                </c:pt>
                <c:pt idx="605">
                  <c:v>605</c:v>
                </c:pt>
                <c:pt idx="606">
                  <c:v>606</c:v>
                </c:pt>
                <c:pt idx="607">
                  <c:v>607</c:v>
                </c:pt>
                <c:pt idx="608">
                  <c:v>608</c:v>
                </c:pt>
                <c:pt idx="609">
                  <c:v>609</c:v>
                </c:pt>
                <c:pt idx="610">
                  <c:v>610</c:v>
                </c:pt>
                <c:pt idx="611">
                  <c:v>611</c:v>
                </c:pt>
                <c:pt idx="612">
                  <c:v>612</c:v>
                </c:pt>
                <c:pt idx="613">
                  <c:v>613</c:v>
                </c:pt>
                <c:pt idx="614">
                  <c:v>614</c:v>
                </c:pt>
                <c:pt idx="615">
                  <c:v>615</c:v>
                </c:pt>
                <c:pt idx="616">
                  <c:v>616</c:v>
                </c:pt>
                <c:pt idx="617">
                  <c:v>617</c:v>
                </c:pt>
                <c:pt idx="618">
                  <c:v>618</c:v>
                </c:pt>
                <c:pt idx="619">
                  <c:v>619</c:v>
                </c:pt>
                <c:pt idx="620">
                  <c:v>620</c:v>
                </c:pt>
                <c:pt idx="621">
                  <c:v>621</c:v>
                </c:pt>
                <c:pt idx="622">
                  <c:v>622</c:v>
                </c:pt>
                <c:pt idx="623">
                  <c:v>623</c:v>
                </c:pt>
                <c:pt idx="624">
                  <c:v>624</c:v>
                </c:pt>
                <c:pt idx="625">
                  <c:v>625</c:v>
                </c:pt>
                <c:pt idx="626">
                  <c:v>626</c:v>
                </c:pt>
                <c:pt idx="627">
                  <c:v>627</c:v>
                </c:pt>
                <c:pt idx="628">
                  <c:v>628</c:v>
                </c:pt>
                <c:pt idx="629">
                  <c:v>629</c:v>
                </c:pt>
                <c:pt idx="630">
                  <c:v>630</c:v>
                </c:pt>
                <c:pt idx="631">
                  <c:v>631</c:v>
                </c:pt>
                <c:pt idx="632">
                  <c:v>632</c:v>
                </c:pt>
                <c:pt idx="633">
                  <c:v>633</c:v>
                </c:pt>
                <c:pt idx="634">
                  <c:v>634</c:v>
                </c:pt>
                <c:pt idx="635">
                  <c:v>635</c:v>
                </c:pt>
                <c:pt idx="636">
                  <c:v>636</c:v>
                </c:pt>
                <c:pt idx="637">
                  <c:v>637</c:v>
                </c:pt>
                <c:pt idx="638">
                  <c:v>638</c:v>
                </c:pt>
                <c:pt idx="639">
                  <c:v>639</c:v>
                </c:pt>
                <c:pt idx="640">
                  <c:v>640</c:v>
                </c:pt>
                <c:pt idx="641">
                  <c:v>641</c:v>
                </c:pt>
                <c:pt idx="642">
                  <c:v>642</c:v>
                </c:pt>
                <c:pt idx="643">
                  <c:v>643</c:v>
                </c:pt>
                <c:pt idx="644">
                  <c:v>644</c:v>
                </c:pt>
                <c:pt idx="645">
                  <c:v>645</c:v>
                </c:pt>
                <c:pt idx="646">
                  <c:v>646</c:v>
                </c:pt>
                <c:pt idx="647">
                  <c:v>647</c:v>
                </c:pt>
                <c:pt idx="648">
                  <c:v>648</c:v>
                </c:pt>
                <c:pt idx="649">
                  <c:v>649</c:v>
                </c:pt>
                <c:pt idx="650">
                  <c:v>650</c:v>
                </c:pt>
                <c:pt idx="651">
                  <c:v>651</c:v>
                </c:pt>
                <c:pt idx="652">
                  <c:v>652</c:v>
                </c:pt>
                <c:pt idx="653">
                  <c:v>653</c:v>
                </c:pt>
                <c:pt idx="654">
                  <c:v>654</c:v>
                </c:pt>
                <c:pt idx="655">
                  <c:v>655</c:v>
                </c:pt>
                <c:pt idx="656">
                  <c:v>656</c:v>
                </c:pt>
                <c:pt idx="657">
                  <c:v>657</c:v>
                </c:pt>
                <c:pt idx="658">
                  <c:v>658</c:v>
                </c:pt>
                <c:pt idx="659">
                  <c:v>659</c:v>
                </c:pt>
                <c:pt idx="660">
                  <c:v>660</c:v>
                </c:pt>
                <c:pt idx="661">
                  <c:v>661</c:v>
                </c:pt>
                <c:pt idx="662">
                  <c:v>662</c:v>
                </c:pt>
                <c:pt idx="663">
                  <c:v>663</c:v>
                </c:pt>
                <c:pt idx="664">
                  <c:v>664</c:v>
                </c:pt>
                <c:pt idx="665">
                  <c:v>665</c:v>
                </c:pt>
                <c:pt idx="666">
                  <c:v>666</c:v>
                </c:pt>
                <c:pt idx="667">
                  <c:v>667</c:v>
                </c:pt>
                <c:pt idx="668">
                  <c:v>668</c:v>
                </c:pt>
                <c:pt idx="669">
                  <c:v>669</c:v>
                </c:pt>
                <c:pt idx="670">
                  <c:v>670</c:v>
                </c:pt>
                <c:pt idx="671">
                  <c:v>671</c:v>
                </c:pt>
                <c:pt idx="672">
                  <c:v>672</c:v>
                </c:pt>
                <c:pt idx="673">
                  <c:v>673</c:v>
                </c:pt>
                <c:pt idx="674">
                  <c:v>674</c:v>
                </c:pt>
                <c:pt idx="675">
                  <c:v>675</c:v>
                </c:pt>
                <c:pt idx="676">
                  <c:v>676</c:v>
                </c:pt>
                <c:pt idx="677">
                  <c:v>677</c:v>
                </c:pt>
                <c:pt idx="678">
                  <c:v>678</c:v>
                </c:pt>
                <c:pt idx="679">
                  <c:v>679</c:v>
                </c:pt>
                <c:pt idx="680">
                  <c:v>680</c:v>
                </c:pt>
                <c:pt idx="681">
                  <c:v>681</c:v>
                </c:pt>
                <c:pt idx="682">
                  <c:v>682</c:v>
                </c:pt>
                <c:pt idx="683">
                  <c:v>683</c:v>
                </c:pt>
                <c:pt idx="684">
                  <c:v>684</c:v>
                </c:pt>
                <c:pt idx="685">
                  <c:v>685</c:v>
                </c:pt>
                <c:pt idx="686">
                  <c:v>686</c:v>
                </c:pt>
                <c:pt idx="687">
                  <c:v>687</c:v>
                </c:pt>
                <c:pt idx="688">
                  <c:v>688</c:v>
                </c:pt>
                <c:pt idx="689">
                  <c:v>689</c:v>
                </c:pt>
                <c:pt idx="690">
                  <c:v>690</c:v>
                </c:pt>
                <c:pt idx="691">
                  <c:v>691</c:v>
                </c:pt>
                <c:pt idx="692">
                  <c:v>692</c:v>
                </c:pt>
                <c:pt idx="693">
                  <c:v>693</c:v>
                </c:pt>
                <c:pt idx="694">
                  <c:v>694</c:v>
                </c:pt>
                <c:pt idx="695">
                  <c:v>695</c:v>
                </c:pt>
                <c:pt idx="696">
                  <c:v>696</c:v>
                </c:pt>
                <c:pt idx="697">
                  <c:v>697</c:v>
                </c:pt>
                <c:pt idx="698">
                  <c:v>698</c:v>
                </c:pt>
                <c:pt idx="699">
                  <c:v>699</c:v>
                </c:pt>
                <c:pt idx="700">
                  <c:v>700</c:v>
                </c:pt>
                <c:pt idx="701">
                  <c:v>701</c:v>
                </c:pt>
                <c:pt idx="702">
                  <c:v>702</c:v>
                </c:pt>
                <c:pt idx="703">
                  <c:v>703</c:v>
                </c:pt>
                <c:pt idx="704">
                  <c:v>704</c:v>
                </c:pt>
                <c:pt idx="705">
                  <c:v>705</c:v>
                </c:pt>
                <c:pt idx="706">
                  <c:v>706</c:v>
                </c:pt>
                <c:pt idx="707">
                  <c:v>707</c:v>
                </c:pt>
                <c:pt idx="708">
                  <c:v>708</c:v>
                </c:pt>
                <c:pt idx="709">
                  <c:v>709</c:v>
                </c:pt>
                <c:pt idx="710">
                  <c:v>710</c:v>
                </c:pt>
                <c:pt idx="711">
                  <c:v>711</c:v>
                </c:pt>
                <c:pt idx="712">
                  <c:v>712</c:v>
                </c:pt>
                <c:pt idx="713">
                  <c:v>713</c:v>
                </c:pt>
                <c:pt idx="714">
                  <c:v>714</c:v>
                </c:pt>
                <c:pt idx="715">
                  <c:v>715</c:v>
                </c:pt>
                <c:pt idx="716">
                  <c:v>716</c:v>
                </c:pt>
                <c:pt idx="717">
                  <c:v>717</c:v>
                </c:pt>
                <c:pt idx="718">
                  <c:v>718</c:v>
                </c:pt>
                <c:pt idx="719">
                  <c:v>719</c:v>
                </c:pt>
                <c:pt idx="720">
                  <c:v>720</c:v>
                </c:pt>
                <c:pt idx="721">
                  <c:v>721</c:v>
                </c:pt>
                <c:pt idx="722">
                  <c:v>722</c:v>
                </c:pt>
                <c:pt idx="723">
                  <c:v>723</c:v>
                </c:pt>
                <c:pt idx="724">
                  <c:v>724</c:v>
                </c:pt>
                <c:pt idx="725">
                  <c:v>725</c:v>
                </c:pt>
                <c:pt idx="726">
                  <c:v>726</c:v>
                </c:pt>
                <c:pt idx="727">
                  <c:v>727</c:v>
                </c:pt>
                <c:pt idx="728">
                  <c:v>728</c:v>
                </c:pt>
                <c:pt idx="729">
                  <c:v>729</c:v>
                </c:pt>
                <c:pt idx="730">
                  <c:v>730</c:v>
                </c:pt>
                <c:pt idx="731">
                  <c:v>731</c:v>
                </c:pt>
                <c:pt idx="732">
                  <c:v>732</c:v>
                </c:pt>
                <c:pt idx="733">
                  <c:v>733</c:v>
                </c:pt>
                <c:pt idx="734">
                  <c:v>734</c:v>
                </c:pt>
                <c:pt idx="735">
                  <c:v>735</c:v>
                </c:pt>
                <c:pt idx="736">
                  <c:v>736</c:v>
                </c:pt>
                <c:pt idx="737">
                  <c:v>737</c:v>
                </c:pt>
                <c:pt idx="738">
                  <c:v>738</c:v>
                </c:pt>
                <c:pt idx="739">
                  <c:v>739</c:v>
                </c:pt>
                <c:pt idx="740">
                  <c:v>740</c:v>
                </c:pt>
                <c:pt idx="741">
                  <c:v>741</c:v>
                </c:pt>
                <c:pt idx="742">
                  <c:v>742</c:v>
                </c:pt>
                <c:pt idx="743">
                  <c:v>743</c:v>
                </c:pt>
                <c:pt idx="744">
                  <c:v>744</c:v>
                </c:pt>
                <c:pt idx="745">
                  <c:v>745</c:v>
                </c:pt>
                <c:pt idx="746">
                  <c:v>746</c:v>
                </c:pt>
                <c:pt idx="747">
                  <c:v>747</c:v>
                </c:pt>
                <c:pt idx="748">
                  <c:v>748</c:v>
                </c:pt>
                <c:pt idx="749">
                  <c:v>749</c:v>
                </c:pt>
                <c:pt idx="750">
                  <c:v>750</c:v>
                </c:pt>
                <c:pt idx="751">
                  <c:v>751</c:v>
                </c:pt>
                <c:pt idx="752">
                  <c:v>752</c:v>
                </c:pt>
                <c:pt idx="753">
                  <c:v>753</c:v>
                </c:pt>
                <c:pt idx="754">
                  <c:v>754</c:v>
                </c:pt>
                <c:pt idx="755">
                  <c:v>755</c:v>
                </c:pt>
                <c:pt idx="756">
                  <c:v>756</c:v>
                </c:pt>
                <c:pt idx="757">
                  <c:v>757</c:v>
                </c:pt>
                <c:pt idx="758">
                  <c:v>758</c:v>
                </c:pt>
                <c:pt idx="759">
                  <c:v>759</c:v>
                </c:pt>
                <c:pt idx="760">
                  <c:v>760</c:v>
                </c:pt>
                <c:pt idx="761">
                  <c:v>761</c:v>
                </c:pt>
                <c:pt idx="762">
                  <c:v>762</c:v>
                </c:pt>
                <c:pt idx="763">
                  <c:v>763</c:v>
                </c:pt>
                <c:pt idx="764">
                  <c:v>764</c:v>
                </c:pt>
                <c:pt idx="765">
                  <c:v>765</c:v>
                </c:pt>
                <c:pt idx="766">
                  <c:v>766</c:v>
                </c:pt>
                <c:pt idx="767">
                  <c:v>767</c:v>
                </c:pt>
                <c:pt idx="768">
                  <c:v>768</c:v>
                </c:pt>
                <c:pt idx="769">
                  <c:v>769</c:v>
                </c:pt>
                <c:pt idx="770">
                  <c:v>770</c:v>
                </c:pt>
                <c:pt idx="771">
                  <c:v>771</c:v>
                </c:pt>
                <c:pt idx="772">
                  <c:v>772</c:v>
                </c:pt>
                <c:pt idx="773">
                  <c:v>773</c:v>
                </c:pt>
                <c:pt idx="774">
                  <c:v>774</c:v>
                </c:pt>
                <c:pt idx="775">
                  <c:v>775</c:v>
                </c:pt>
                <c:pt idx="776">
                  <c:v>776</c:v>
                </c:pt>
                <c:pt idx="777">
                  <c:v>777</c:v>
                </c:pt>
                <c:pt idx="778">
                  <c:v>778</c:v>
                </c:pt>
                <c:pt idx="779">
                  <c:v>779</c:v>
                </c:pt>
                <c:pt idx="780">
                  <c:v>780</c:v>
                </c:pt>
                <c:pt idx="781">
                  <c:v>781</c:v>
                </c:pt>
                <c:pt idx="782">
                  <c:v>782</c:v>
                </c:pt>
                <c:pt idx="783">
                  <c:v>783</c:v>
                </c:pt>
                <c:pt idx="784">
                  <c:v>784</c:v>
                </c:pt>
                <c:pt idx="785">
                  <c:v>785</c:v>
                </c:pt>
                <c:pt idx="786">
                  <c:v>786</c:v>
                </c:pt>
                <c:pt idx="787">
                  <c:v>787</c:v>
                </c:pt>
                <c:pt idx="788">
                  <c:v>788</c:v>
                </c:pt>
                <c:pt idx="789">
                  <c:v>789</c:v>
                </c:pt>
                <c:pt idx="790">
                  <c:v>790</c:v>
                </c:pt>
                <c:pt idx="791">
                  <c:v>791</c:v>
                </c:pt>
                <c:pt idx="792">
                  <c:v>792</c:v>
                </c:pt>
                <c:pt idx="793">
                  <c:v>793</c:v>
                </c:pt>
                <c:pt idx="794">
                  <c:v>794</c:v>
                </c:pt>
                <c:pt idx="795">
                  <c:v>795</c:v>
                </c:pt>
                <c:pt idx="796">
                  <c:v>796</c:v>
                </c:pt>
                <c:pt idx="797">
                  <c:v>797</c:v>
                </c:pt>
                <c:pt idx="798">
                  <c:v>798</c:v>
                </c:pt>
                <c:pt idx="799">
                  <c:v>799</c:v>
                </c:pt>
                <c:pt idx="800">
                  <c:v>800</c:v>
                </c:pt>
                <c:pt idx="801">
                  <c:v>801</c:v>
                </c:pt>
                <c:pt idx="802">
                  <c:v>802</c:v>
                </c:pt>
                <c:pt idx="803">
                  <c:v>803</c:v>
                </c:pt>
                <c:pt idx="804">
                  <c:v>804</c:v>
                </c:pt>
                <c:pt idx="805">
                  <c:v>805</c:v>
                </c:pt>
                <c:pt idx="806">
                  <c:v>806</c:v>
                </c:pt>
                <c:pt idx="807">
                  <c:v>807</c:v>
                </c:pt>
                <c:pt idx="808">
                  <c:v>808</c:v>
                </c:pt>
                <c:pt idx="809">
                  <c:v>809</c:v>
                </c:pt>
                <c:pt idx="810">
                  <c:v>810</c:v>
                </c:pt>
                <c:pt idx="811">
                  <c:v>811</c:v>
                </c:pt>
                <c:pt idx="812">
                  <c:v>812</c:v>
                </c:pt>
                <c:pt idx="813">
                  <c:v>813</c:v>
                </c:pt>
                <c:pt idx="814">
                  <c:v>814</c:v>
                </c:pt>
                <c:pt idx="815">
                  <c:v>815</c:v>
                </c:pt>
                <c:pt idx="816">
                  <c:v>816</c:v>
                </c:pt>
                <c:pt idx="817">
                  <c:v>817</c:v>
                </c:pt>
                <c:pt idx="818">
                  <c:v>818</c:v>
                </c:pt>
                <c:pt idx="819">
                  <c:v>819</c:v>
                </c:pt>
                <c:pt idx="820">
                  <c:v>820</c:v>
                </c:pt>
                <c:pt idx="821">
                  <c:v>821</c:v>
                </c:pt>
                <c:pt idx="822">
                  <c:v>822</c:v>
                </c:pt>
                <c:pt idx="823">
                  <c:v>823</c:v>
                </c:pt>
                <c:pt idx="824">
                  <c:v>824</c:v>
                </c:pt>
                <c:pt idx="825">
                  <c:v>825</c:v>
                </c:pt>
                <c:pt idx="826">
                  <c:v>826</c:v>
                </c:pt>
                <c:pt idx="827">
                  <c:v>827</c:v>
                </c:pt>
                <c:pt idx="828">
                  <c:v>828</c:v>
                </c:pt>
                <c:pt idx="829">
                  <c:v>829</c:v>
                </c:pt>
                <c:pt idx="830">
                  <c:v>830</c:v>
                </c:pt>
                <c:pt idx="831">
                  <c:v>831</c:v>
                </c:pt>
                <c:pt idx="832">
                  <c:v>832</c:v>
                </c:pt>
                <c:pt idx="833">
                  <c:v>833</c:v>
                </c:pt>
                <c:pt idx="834">
                  <c:v>834</c:v>
                </c:pt>
                <c:pt idx="835">
                  <c:v>835</c:v>
                </c:pt>
                <c:pt idx="836">
                  <c:v>836</c:v>
                </c:pt>
                <c:pt idx="837">
                  <c:v>837</c:v>
                </c:pt>
                <c:pt idx="838">
                  <c:v>838</c:v>
                </c:pt>
                <c:pt idx="839">
                  <c:v>839</c:v>
                </c:pt>
                <c:pt idx="840">
                  <c:v>840</c:v>
                </c:pt>
                <c:pt idx="841">
                  <c:v>841</c:v>
                </c:pt>
                <c:pt idx="842">
                  <c:v>842</c:v>
                </c:pt>
                <c:pt idx="843">
                  <c:v>843</c:v>
                </c:pt>
                <c:pt idx="844">
                  <c:v>844</c:v>
                </c:pt>
                <c:pt idx="845">
                  <c:v>845</c:v>
                </c:pt>
                <c:pt idx="846">
                  <c:v>846</c:v>
                </c:pt>
                <c:pt idx="847">
                  <c:v>847</c:v>
                </c:pt>
                <c:pt idx="848">
                  <c:v>848</c:v>
                </c:pt>
                <c:pt idx="849">
                  <c:v>849</c:v>
                </c:pt>
                <c:pt idx="850">
                  <c:v>850</c:v>
                </c:pt>
                <c:pt idx="851">
                  <c:v>851</c:v>
                </c:pt>
                <c:pt idx="852">
                  <c:v>852</c:v>
                </c:pt>
                <c:pt idx="853">
                  <c:v>853</c:v>
                </c:pt>
                <c:pt idx="854">
                  <c:v>854</c:v>
                </c:pt>
                <c:pt idx="855">
                  <c:v>855</c:v>
                </c:pt>
                <c:pt idx="856">
                  <c:v>856</c:v>
                </c:pt>
                <c:pt idx="857">
                  <c:v>857</c:v>
                </c:pt>
                <c:pt idx="858">
                  <c:v>858</c:v>
                </c:pt>
                <c:pt idx="859">
                  <c:v>859</c:v>
                </c:pt>
                <c:pt idx="860">
                  <c:v>860</c:v>
                </c:pt>
                <c:pt idx="861">
                  <c:v>861</c:v>
                </c:pt>
                <c:pt idx="862">
                  <c:v>862</c:v>
                </c:pt>
                <c:pt idx="863">
                  <c:v>863</c:v>
                </c:pt>
                <c:pt idx="864">
                  <c:v>864</c:v>
                </c:pt>
                <c:pt idx="865">
                  <c:v>865</c:v>
                </c:pt>
                <c:pt idx="866">
                  <c:v>866</c:v>
                </c:pt>
                <c:pt idx="867">
                  <c:v>867</c:v>
                </c:pt>
                <c:pt idx="868">
                  <c:v>868</c:v>
                </c:pt>
                <c:pt idx="869">
                  <c:v>869</c:v>
                </c:pt>
                <c:pt idx="870">
                  <c:v>870</c:v>
                </c:pt>
                <c:pt idx="871">
                  <c:v>871</c:v>
                </c:pt>
                <c:pt idx="872">
                  <c:v>872</c:v>
                </c:pt>
                <c:pt idx="873">
                  <c:v>873</c:v>
                </c:pt>
                <c:pt idx="874">
                  <c:v>874</c:v>
                </c:pt>
                <c:pt idx="875">
                  <c:v>875</c:v>
                </c:pt>
                <c:pt idx="876">
                  <c:v>876</c:v>
                </c:pt>
                <c:pt idx="877">
                  <c:v>877</c:v>
                </c:pt>
                <c:pt idx="878">
                  <c:v>878</c:v>
                </c:pt>
                <c:pt idx="879">
                  <c:v>879</c:v>
                </c:pt>
                <c:pt idx="880">
                  <c:v>880</c:v>
                </c:pt>
                <c:pt idx="881">
                  <c:v>881</c:v>
                </c:pt>
                <c:pt idx="882">
                  <c:v>882</c:v>
                </c:pt>
                <c:pt idx="883">
                  <c:v>883</c:v>
                </c:pt>
                <c:pt idx="884">
                  <c:v>884</c:v>
                </c:pt>
                <c:pt idx="885">
                  <c:v>885</c:v>
                </c:pt>
                <c:pt idx="886">
                  <c:v>886</c:v>
                </c:pt>
                <c:pt idx="887">
                  <c:v>887</c:v>
                </c:pt>
                <c:pt idx="888">
                  <c:v>888</c:v>
                </c:pt>
                <c:pt idx="889">
                  <c:v>889</c:v>
                </c:pt>
                <c:pt idx="890">
                  <c:v>890</c:v>
                </c:pt>
                <c:pt idx="891">
                  <c:v>891</c:v>
                </c:pt>
                <c:pt idx="892">
                  <c:v>892</c:v>
                </c:pt>
                <c:pt idx="893">
                  <c:v>893</c:v>
                </c:pt>
                <c:pt idx="894">
                  <c:v>894</c:v>
                </c:pt>
                <c:pt idx="895">
                  <c:v>895</c:v>
                </c:pt>
                <c:pt idx="896">
                  <c:v>896</c:v>
                </c:pt>
                <c:pt idx="897">
                  <c:v>897</c:v>
                </c:pt>
                <c:pt idx="898">
                  <c:v>898</c:v>
                </c:pt>
                <c:pt idx="899">
                  <c:v>899</c:v>
                </c:pt>
                <c:pt idx="900">
                  <c:v>900</c:v>
                </c:pt>
                <c:pt idx="901">
                  <c:v>901</c:v>
                </c:pt>
                <c:pt idx="902">
                  <c:v>902</c:v>
                </c:pt>
                <c:pt idx="903">
                  <c:v>903</c:v>
                </c:pt>
                <c:pt idx="904">
                  <c:v>904</c:v>
                </c:pt>
                <c:pt idx="905">
                  <c:v>905</c:v>
                </c:pt>
                <c:pt idx="906">
                  <c:v>906</c:v>
                </c:pt>
                <c:pt idx="907">
                  <c:v>907</c:v>
                </c:pt>
                <c:pt idx="908">
                  <c:v>908</c:v>
                </c:pt>
                <c:pt idx="909">
                  <c:v>909</c:v>
                </c:pt>
                <c:pt idx="910">
                  <c:v>910</c:v>
                </c:pt>
                <c:pt idx="911">
                  <c:v>911</c:v>
                </c:pt>
                <c:pt idx="912">
                  <c:v>912</c:v>
                </c:pt>
                <c:pt idx="913">
                  <c:v>913</c:v>
                </c:pt>
                <c:pt idx="914">
                  <c:v>914</c:v>
                </c:pt>
                <c:pt idx="915">
                  <c:v>915</c:v>
                </c:pt>
                <c:pt idx="916">
                  <c:v>916</c:v>
                </c:pt>
                <c:pt idx="917">
                  <c:v>917</c:v>
                </c:pt>
                <c:pt idx="918">
                  <c:v>918</c:v>
                </c:pt>
                <c:pt idx="919">
                  <c:v>919</c:v>
                </c:pt>
                <c:pt idx="920">
                  <c:v>920</c:v>
                </c:pt>
                <c:pt idx="921">
                  <c:v>921</c:v>
                </c:pt>
                <c:pt idx="922">
                  <c:v>922</c:v>
                </c:pt>
                <c:pt idx="923">
                  <c:v>923</c:v>
                </c:pt>
                <c:pt idx="924">
                  <c:v>924</c:v>
                </c:pt>
                <c:pt idx="925">
                  <c:v>925</c:v>
                </c:pt>
                <c:pt idx="926">
                  <c:v>926</c:v>
                </c:pt>
                <c:pt idx="927">
                  <c:v>927</c:v>
                </c:pt>
                <c:pt idx="928">
                  <c:v>928</c:v>
                </c:pt>
                <c:pt idx="929">
                  <c:v>929</c:v>
                </c:pt>
                <c:pt idx="930">
                  <c:v>930</c:v>
                </c:pt>
                <c:pt idx="931">
                  <c:v>931</c:v>
                </c:pt>
                <c:pt idx="932">
                  <c:v>932</c:v>
                </c:pt>
                <c:pt idx="933">
                  <c:v>933</c:v>
                </c:pt>
                <c:pt idx="934">
                  <c:v>934</c:v>
                </c:pt>
                <c:pt idx="935">
                  <c:v>935</c:v>
                </c:pt>
                <c:pt idx="936">
                  <c:v>936</c:v>
                </c:pt>
                <c:pt idx="937">
                  <c:v>937</c:v>
                </c:pt>
                <c:pt idx="938">
                  <c:v>938</c:v>
                </c:pt>
                <c:pt idx="939">
                  <c:v>939</c:v>
                </c:pt>
                <c:pt idx="940">
                  <c:v>940</c:v>
                </c:pt>
                <c:pt idx="941">
                  <c:v>941</c:v>
                </c:pt>
                <c:pt idx="942">
                  <c:v>942</c:v>
                </c:pt>
                <c:pt idx="943">
                  <c:v>943</c:v>
                </c:pt>
                <c:pt idx="944">
                  <c:v>944</c:v>
                </c:pt>
                <c:pt idx="945">
                  <c:v>945</c:v>
                </c:pt>
                <c:pt idx="946">
                  <c:v>946</c:v>
                </c:pt>
                <c:pt idx="947">
                  <c:v>947</c:v>
                </c:pt>
                <c:pt idx="948">
                  <c:v>948</c:v>
                </c:pt>
                <c:pt idx="949">
                  <c:v>949</c:v>
                </c:pt>
                <c:pt idx="950">
                  <c:v>950</c:v>
                </c:pt>
                <c:pt idx="951">
                  <c:v>951</c:v>
                </c:pt>
                <c:pt idx="952">
                  <c:v>952</c:v>
                </c:pt>
                <c:pt idx="953">
                  <c:v>953</c:v>
                </c:pt>
                <c:pt idx="954">
                  <c:v>954</c:v>
                </c:pt>
                <c:pt idx="955">
                  <c:v>955</c:v>
                </c:pt>
                <c:pt idx="956">
                  <c:v>956</c:v>
                </c:pt>
                <c:pt idx="957">
                  <c:v>957</c:v>
                </c:pt>
                <c:pt idx="958">
                  <c:v>958</c:v>
                </c:pt>
                <c:pt idx="959">
                  <c:v>959</c:v>
                </c:pt>
                <c:pt idx="960">
                  <c:v>960</c:v>
                </c:pt>
                <c:pt idx="961">
                  <c:v>961</c:v>
                </c:pt>
                <c:pt idx="962">
                  <c:v>962</c:v>
                </c:pt>
                <c:pt idx="963">
                  <c:v>963</c:v>
                </c:pt>
                <c:pt idx="964">
                  <c:v>964</c:v>
                </c:pt>
                <c:pt idx="965">
                  <c:v>965</c:v>
                </c:pt>
                <c:pt idx="966">
                  <c:v>966</c:v>
                </c:pt>
                <c:pt idx="967">
                  <c:v>967</c:v>
                </c:pt>
                <c:pt idx="968">
                  <c:v>968</c:v>
                </c:pt>
                <c:pt idx="969">
                  <c:v>969</c:v>
                </c:pt>
                <c:pt idx="970">
                  <c:v>970</c:v>
                </c:pt>
                <c:pt idx="971">
                  <c:v>971</c:v>
                </c:pt>
                <c:pt idx="972">
                  <c:v>972</c:v>
                </c:pt>
                <c:pt idx="973">
                  <c:v>973</c:v>
                </c:pt>
                <c:pt idx="974">
                  <c:v>974</c:v>
                </c:pt>
                <c:pt idx="975">
                  <c:v>975</c:v>
                </c:pt>
                <c:pt idx="976">
                  <c:v>976</c:v>
                </c:pt>
                <c:pt idx="977">
                  <c:v>977</c:v>
                </c:pt>
                <c:pt idx="978">
                  <c:v>978</c:v>
                </c:pt>
                <c:pt idx="979">
                  <c:v>979</c:v>
                </c:pt>
                <c:pt idx="980">
                  <c:v>980</c:v>
                </c:pt>
                <c:pt idx="981">
                  <c:v>981</c:v>
                </c:pt>
                <c:pt idx="982">
                  <c:v>982</c:v>
                </c:pt>
                <c:pt idx="983">
                  <c:v>983</c:v>
                </c:pt>
                <c:pt idx="984">
                  <c:v>984</c:v>
                </c:pt>
                <c:pt idx="985">
                  <c:v>985</c:v>
                </c:pt>
                <c:pt idx="986">
                  <c:v>986</c:v>
                </c:pt>
                <c:pt idx="987">
                  <c:v>987</c:v>
                </c:pt>
                <c:pt idx="988">
                  <c:v>988</c:v>
                </c:pt>
                <c:pt idx="989">
                  <c:v>989</c:v>
                </c:pt>
                <c:pt idx="990">
                  <c:v>990</c:v>
                </c:pt>
                <c:pt idx="991">
                  <c:v>991</c:v>
                </c:pt>
                <c:pt idx="992">
                  <c:v>992</c:v>
                </c:pt>
                <c:pt idx="993">
                  <c:v>993</c:v>
                </c:pt>
                <c:pt idx="994">
                  <c:v>994</c:v>
                </c:pt>
                <c:pt idx="995">
                  <c:v>995</c:v>
                </c:pt>
                <c:pt idx="996">
                  <c:v>996</c:v>
                </c:pt>
                <c:pt idx="997">
                  <c:v>997</c:v>
                </c:pt>
                <c:pt idx="998">
                  <c:v>998</c:v>
                </c:pt>
                <c:pt idx="999">
                  <c:v>999</c:v>
                </c:pt>
                <c:pt idx="1000">
                  <c:v>1000</c:v>
                </c:pt>
                <c:pt idx="1001">
                  <c:v>1001</c:v>
                </c:pt>
                <c:pt idx="1002">
                  <c:v>1002</c:v>
                </c:pt>
                <c:pt idx="1003">
                  <c:v>1003</c:v>
                </c:pt>
                <c:pt idx="1004">
                  <c:v>1004</c:v>
                </c:pt>
                <c:pt idx="1005">
                  <c:v>1005</c:v>
                </c:pt>
                <c:pt idx="1006">
                  <c:v>1006</c:v>
                </c:pt>
                <c:pt idx="1007">
                  <c:v>1007</c:v>
                </c:pt>
                <c:pt idx="1008">
                  <c:v>1008</c:v>
                </c:pt>
                <c:pt idx="1009">
                  <c:v>1009</c:v>
                </c:pt>
                <c:pt idx="1010">
                  <c:v>1010</c:v>
                </c:pt>
                <c:pt idx="1011">
                  <c:v>1011</c:v>
                </c:pt>
                <c:pt idx="1012">
                  <c:v>1012</c:v>
                </c:pt>
                <c:pt idx="1013">
                  <c:v>1013</c:v>
                </c:pt>
                <c:pt idx="1014">
                  <c:v>1014</c:v>
                </c:pt>
                <c:pt idx="1015">
                  <c:v>1015</c:v>
                </c:pt>
                <c:pt idx="1016">
                  <c:v>1016</c:v>
                </c:pt>
                <c:pt idx="1017">
                  <c:v>1017</c:v>
                </c:pt>
                <c:pt idx="1018">
                  <c:v>1018</c:v>
                </c:pt>
                <c:pt idx="1019">
                  <c:v>1019</c:v>
                </c:pt>
                <c:pt idx="1020">
                  <c:v>1020</c:v>
                </c:pt>
                <c:pt idx="1021">
                  <c:v>1021</c:v>
                </c:pt>
                <c:pt idx="1022">
                  <c:v>1022</c:v>
                </c:pt>
                <c:pt idx="1023">
                  <c:v>1023</c:v>
                </c:pt>
                <c:pt idx="1024">
                  <c:v>1024</c:v>
                </c:pt>
                <c:pt idx="1025">
                  <c:v>1025</c:v>
                </c:pt>
                <c:pt idx="1026">
                  <c:v>1026</c:v>
                </c:pt>
                <c:pt idx="1027">
                  <c:v>1027</c:v>
                </c:pt>
                <c:pt idx="1028">
                  <c:v>1028</c:v>
                </c:pt>
                <c:pt idx="1029">
                  <c:v>1029</c:v>
                </c:pt>
                <c:pt idx="1030">
                  <c:v>1030</c:v>
                </c:pt>
                <c:pt idx="1031">
                  <c:v>1031</c:v>
                </c:pt>
                <c:pt idx="1032">
                  <c:v>1032</c:v>
                </c:pt>
                <c:pt idx="1033">
                  <c:v>1033</c:v>
                </c:pt>
                <c:pt idx="1034">
                  <c:v>1034</c:v>
                </c:pt>
                <c:pt idx="1035">
                  <c:v>1035</c:v>
                </c:pt>
                <c:pt idx="1036">
                  <c:v>1036</c:v>
                </c:pt>
                <c:pt idx="1037">
                  <c:v>1037</c:v>
                </c:pt>
                <c:pt idx="1038">
                  <c:v>1038</c:v>
                </c:pt>
                <c:pt idx="1039">
                  <c:v>1039</c:v>
                </c:pt>
                <c:pt idx="1040">
                  <c:v>1040</c:v>
                </c:pt>
                <c:pt idx="1041">
                  <c:v>1041</c:v>
                </c:pt>
                <c:pt idx="1042">
                  <c:v>1042</c:v>
                </c:pt>
                <c:pt idx="1043">
                  <c:v>1043</c:v>
                </c:pt>
                <c:pt idx="1044">
                  <c:v>1044</c:v>
                </c:pt>
                <c:pt idx="1045">
                  <c:v>1045</c:v>
                </c:pt>
                <c:pt idx="1046">
                  <c:v>1046</c:v>
                </c:pt>
                <c:pt idx="1047">
                  <c:v>1047</c:v>
                </c:pt>
                <c:pt idx="1048">
                  <c:v>1048</c:v>
                </c:pt>
                <c:pt idx="1049">
                  <c:v>1049</c:v>
                </c:pt>
                <c:pt idx="1050">
                  <c:v>1050</c:v>
                </c:pt>
                <c:pt idx="1051">
                  <c:v>1051</c:v>
                </c:pt>
                <c:pt idx="1052">
                  <c:v>1052</c:v>
                </c:pt>
                <c:pt idx="1053">
                  <c:v>1053</c:v>
                </c:pt>
                <c:pt idx="1054">
                  <c:v>1054</c:v>
                </c:pt>
                <c:pt idx="1055">
                  <c:v>1055</c:v>
                </c:pt>
                <c:pt idx="1056">
                  <c:v>1056</c:v>
                </c:pt>
                <c:pt idx="1057">
                  <c:v>1057</c:v>
                </c:pt>
                <c:pt idx="1058">
                  <c:v>1058</c:v>
                </c:pt>
                <c:pt idx="1059">
                  <c:v>1059</c:v>
                </c:pt>
                <c:pt idx="1060">
                  <c:v>1060</c:v>
                </c:pt>
                <c:pt idx="1061">
                  <c:v>1061</c:v>
                </c:pt>
                <c:pt idx="1062">
                  <c:v>1062</c:v>
                </c:pt>
                <c:pt idx="1063">
                  <c:v>1063</c:v>
                </c:pt>
                <c:pt idx="1064">
                  <c:v>1064</c:v>
                </c:pt>
                <c:pt idx="1065">
                  <c:v>1065</c:v>
                </c:pt>
                <c:pt idx="1066">
                  <c:v>1066</c:v>
                </c:pt>
                <c:pt idx="1067">
                  <c:v>1067</c:v>
                </c:pt>
                <c:pt idx="1068">
                  <c:v>1068</c:v>
                </c:pt>
                <c:pt idx="1069">
                  <c:v>1069</c:v>
                </c:pt>
                <c:pt idx="1070">
                  <c:v>1070</c:v>
                </c:pt>
                <c:pt idx="1071">
                  <c:v>1071</c:v>
                </c:pt>
                <c:pt idx="1072">
                  <c:v>1072</c:v>
                </c:pt>
                <c:pt idx="1073">
                  <c:v>1073</c:v>
                </c:pt>
                <c:pt idx="1074">
                  <c:v>1074</c:v>
                </c:pt>
                <c:pt idx="1075">
                  <c:v>1075</c:v>
                </c:pt>
                <c:pt idx="1076">
                  <c:v>1076</c:v>
                </c:pt>
                <c:pt idx="1077">
                  <c:v>1077</c:v>
                </c:pt>
                <c:pt idx="1078">
                  <c:v>1078</c:v>
                </c:pt>
                <c:pt idx="1079">
                  <c:v>1079</c:v>
                </c:pt>
                <c:pt idx="1080">
                  <c:v>1080</c:v>
                </c:pt>
                <c:pt idx="1081">
                  <c:v>1081</c:v>
                </c:pt>
                <c:pt idx="1082">
                  <c:v>1082</c:v>
                </c:pt>
                <c:pt idx="1083">
                  <c:v>1083</c:v>
                </c:pt>
                <c:pt idx="1084">
                  <c:v>1084</c:v>
                </c:pt>
                <c:pt idx="1085">
                  <c:v>1085</c:v>
                </c:pt>
                <c:pt idx="1086">
                  <c:v>1086</c:v>
                </c:pt>
                <c:pt idx="1087">
                  <c:v>1087</c:v>
                </c:pt>
                <c:pt idx="1088">
                  <c:v>1088</c:v>
                </c:pt>
                <c:pt idx="1089">
                  <c:v>1089</c:v>
                </c:pt>
                <c:pt idx="1090">
                  <c:v>1090</c:v>
                </c:pt>
                <c:pt idx="1091">
                  <c:v>1091</c:v>
                </c:pt>
                <c:pt idx="1092">
                  <c:v>1092</c:v>
                </c:pt>
                <c:pt idx="1093">
                  <c:v>1093</c:v>
                </c:pt>
                <c:pt idx="1094">
                  <c:v>1094</c:v>
                </c:pt>
                <c:pt idx="1095">
                  <c:v>1095</c:v>
                </c:pt>
                <c:pt idx="1096">
                  <c:v>1096</c:v>
                </c:pt>
                <c:pt idx="1097">
                  <c:v>1097</c:v>
                </c:pt>
                <c:pt idx="1098">
                  <c:v>1098</c:v>
                </c:pt>
                <c:pt idx="1099">
                  <c:v>1099</c:v>
                </c:pt>
                <c:pt idx="1100">
                  <c:v>1100</c:v>
                </c:pt>
                <c:pt idx="1101">
                  <c:v>1101</c:v>
                </c:pt>
                <c:pt idx="1102">
                  <c:v>1102</c:v>
                </c:pt>
                <c:pt idx="1103">
                  <c:v>1103</c:v>
                </c:pt>
                <c:pt idx="1104">
                  <c:v>1104</c:v>
                </c:pt>
                <c:pt idx="1105">
                  <c:v>1105</c:v>
                </c:pt>
                <c:pt idx="1106">
                  <c:v>1106</c:v>
                </c:pt>
                <c:pt idx="1107">
                  <c:v>1107</c:v>
                </c:pt>
                <c:pt idx="1108">
                  <c:v>1108</c:v>
                </c:pt>
                <c:pt idx="1109">
                  <c:v>1109</c:v>
                </c:pt>
                <c:pt idx="1110">
                  <c:v>1110</c:v>
                </c:pt>
                <c:pt idx="1111">
                  <c:v>1111</c:v>
                </c:pt>
                <c:pt idx="1112">
                  <c:v>1112</c:v>
                </c:pt>
                <c:pt idx="1113">
                  <c:v>1113</c:v>
                </c:pt>
                <c:pt idx="1114">
                  <c:v>1114</c:v>
                </c:pt>
                <c:pt idx="1115">
                  <c:v>1115</c:v>
                </c:pt>
                <c:pt idx="1116">
                  <c:v>1116</c:v>
                </c:pt>
                <c:pt idx="1117">
                  <c:v>1117</c:v>
                </c:pt>
                <c:pt idx="1118">
                  <c:v>1118</c:v>
                </c:pt>
                <c:pt idx="1119">
                  <c:v>1119</c:v>
                </c:pt>
                <c:pt idx="1120">
                  <c:v>1120</c:v>
                </c:pt>
                <c:pt idx="1121">
                  <c:v>1121</c:v>
                </c:pt>
                <c:pt idx="1122">
                  <c:v>1122</c:v>
                </c:pt>
                <c:pt idx="1123">
                  <c:v>1123</c:v>
                </c:pt>
                <c:pt idx="1124">
                  <c:v>1124</c:v>
                </c:pt>
                <c:pt idx="1125">
                  <c:v>1125</c:v>
                </c:pt>
                <c:pt idx="1126">
                  <c:v>1126</c:v>
                </c:pt>
                <c:pt idx="1127">
                  <c:v>1127</c:v>
                </c:pt>
                <c:pt idx="1128">
                  <c:v>1128</c:v>
                </c:pt>
                <c:pt idx="1129">
                  <c:v>1129</c:v>
                </c:pt>
                <c:pt idx="1130">
                  <c:v>1130</c:v>
                </c:pt>
                <c:pt idx="1131">
                  <c:v>1131</c:v>
                </c:pt>
                <c:pt idx="1132">
                  <c:v>1132</c:v>
                </c:pt>
                <c:pt idx="1133">
                  <c:v>1133</c:v>
                </c:pt>
                <c:pt idx="1134">
                  <c:v>1134</c:v>
                </c:pt>
                <c:pt idx="1135">
                  <c:v>1135</c:v>
                </c:pt>
                <c:pt idx="1136">
                  <c:v>1136</c:v>
                </c:pt>
                <c:pt idx="1137">
                  <c:v>1137</c:v>
                </c:pt>
                <c:pt idx="1138">
                  <c:v>1138</c:v>
                </c:pt>
                <c:pt idx="1139">
                  <c:v>1139</c:v>
                </c:pt>
                <c:pt idx="1140">
                  <c:v>1140</c:v>
                </c:pt>
                <c:pt idx="1141">
                  <c:v>1141</c:v>
                </c:pt>
                <c:pt idx="1142">
                  <c:v>1142</c:v>
                </c:pt>
                <c:pt idx="1143">
                  <c:v>1143</c:v>
                </c:pt>
                <c:pt idx="1144">
                  <c:v>1144</c:v>
                </c:pt>
                <c:pt idx="1145">
                  <c:v>1145</c:v>
                </c:pt>
                <c:pt idx="1146">
                  <c:v>1146</c:v>
                </c:pt>
                <c:pt idx="1147">
                  <c:v>1147</c:v>
                </c:pt>
                <c:pt idx="1148">
                  <c:v>1148</c:v>
                </c:pt>
                <c:pt idx="1149">
                  <c:v>1149</c:v>
                </c:pt>
                <c:pt idx="1150">
                  <c:v>1150</c:v>
                </c:pt>
                <c:pt idx="1151">
                  <c:v>1151</c:v>
                </c:pt>
                <c:pt idx="1152">
                  <c:v>1152</c:v>
                </c:pt>
                <c:pt idx="1153">
                  <c:v>1153</c:v>
                </c:pt>
                <c:pt idx="1154">
                  <c:v>1154</c:v>
                </c:pt>
                <c:pt idx="1155">
                  <c:v>1155</c:v>
                </c:pt>
                <c:pt idx="1156">
                  <c:v>1156</c:v>
                </c:pt>
                <c:pt idx="1157">
                  <c:v>1157</c:v>
                </c:pt>
                <c:pt idx="1158">
                  <c:v>1158</c:v>
                </c:pt>
                <c:pt idx="1159">
                  <c:v>1159</c:v>
                </c:pt>
                <c:pt idx="1160">
                  <c:v>1160</c:v>
                </c:pt>
                <c:pt idx="1161">
                  <c:v>1161</c:v>
                </c:pt>
                <c:pt idx="1162">
                  <c:v>1162</c:v>
                </c:pt>
                <c:pt idx="1163">
                  <c:v>1163</c:v>
                </c:pt>
                <c:pt idx="1164">
                  <c:v>1164</c:v>
                </c:pt>
                <c:pt idx="1165">
                  <c:v>1165</c:v>
                </c:pt>
                <c:pt idx="1166">
                  <c:v>1166</c:v>
                </c:pt>
                <c:pt idx="1167">
                  <c:v>1167</c:v>
                </c:pt>
                <c:pt idx="1168">
                  <c:v>1168</c:v>
                </c:pt>
                <c:pt idx="1169">
                  <c:v>1169</c:v>
                </c:pt>
                <c:pt idx="1170">
                  <c:v>1170</c:v>
                </c:pt>
                <c:pt idx="1171">
                  <c:v>1171</c:v>
                </c:pt>
                <c:pt idx="1172">
                  <c:v>1172</c:v>
                </c:pt>
                <c:pt idx="1173">
                  <c:v>1173</c:v>
                </c:pt>
                <c:pt idx="1174">
                  <c:v>1174</c:v>
                </c:pt>
                <c:pt idx="1175">
                  <c:v>1175</c:v>
                </c:pt>
                <c:pt idx="1176">
                  <c:v>1176</c:v>
                </c:pt>
                <c:pt idx="1177">
                  <c:v>1177</c:v>
                </c:pt>
                <c:pt idx="1178">
                  <c:v>1178</c:v>
                </c:pt>
                <c:pt idx="1179">
                  <c:v>1179</c:v>
                </c:pt>
                <c:pt idx="1180">
                  <c:v>1180</c:v>
                </c:pt>
                <c:pt idx="1181">
                  <c:v>1181</c:v>
                </c:pt>
                <c:pt idx="1182">
                  <c:v>1182</c:v>
                </c:pt>
                <c:pt idx="1183">
                  <c:v>1183</c:v>
                </c:pt>
                <c:pt idx="1184">
                  <c:v>1184</c:v>
                </c:pt>
                <c:pt idx="1185">
                  <c:v>1185</c:v>
                </c:pt>
                <c:pt idx="1186">
                  <c:v>1186</c:v>
                </c:pt>
                <c:pt idx="1187">
                  <c:v>1187</c:v>
                </c:pt>
                <c:pt idx="1188">
                  <c:v>1188</c:v>
                </c:pt>
                <c:pt idx="1189">
                  <c:v>1189</c:v>
                </c:pt>
                <c:pt idx="1190">
                  <c:v>1190</c:v>
                </c:pt>
                <c:pt idx="1191">
                  <c:v>1191</c:v>
                </c:pt>
                <c:pt idx="1192">
                  <c:v>1192</c:v>
                </c:pt>
                <c:pt idx="1193">
                  <c:v>1193</c:v>
                </c:pt>
                <c:pt idx="1194">
                  <c:v>1194</c:v>
                </c:pt>
                <c:pt idx="1195">
                  <c:v>1195</c:v>
                </c:pt>
                <c:pt idx="1196">
                  <c:v>1196</c:v>
                </c:pt>
                <c:pt idx="1197">
                  <c:v>1197</c:v>
                </c:pt>
                <c:pt idx="1198">
                  <c:v>1198</c:v>
                </c:pt>
                <c:pt idx="1199">
                  <c:v>1199</c:v>
                </c:pt>
                <c:pt idx="1200">
                  <c:v>1200</c:v>
                </c:pt>
                <c:pt idx="1201">
                  <c:v>1201</c:v>
                </c:pt>
                <c:pt idx="1202">
                  <c:v>1202</c:v>
                </c:pt>
                <c:pt idx="1203">
                  <c:v>1203</c:v>
                </c:pt>
                <c:pt idx="1204">
                  <c:v>1204</c:v>
                </c:pt>
                <c:pt idx="1205">
                  <c:v>1205</c:v>
                </c:pt>
                <c:pt idx="1206">
                  <c:v>1206</c:v>
                </c:pt>
                <c:pt idx="1207">
                  <c:v>1207</c:v>
                </c:pt>
                <c:pt idx="1208">
                  <c:v>1208</c:v>
                </c:pt>
                <c:pt idx="1209">
                  <c:v>1209</c:v>
                </c:pt>
                <c:pt idx="1210">
                  <c:v>1210</c:v>
                </c:pt>
                <c:pt idx="1211">
                  <c:v>1211</c:v>
                </c:pt>
                <c:pt idx="1212">
                  <c:v>1212</c:v>
                </c:pt>
                <c:pt idx="1213">
                  <c:v>1213</c:v>
                </c:pt>
                <c:pt idx="1214">
                  <c:v>1214</c:v>
                </c:pt>
                <c:pt idx="1215">
                  <c:v>1215</c:v>
                </c:pt>
                <c:pt idx="1216">
                  <c:v>1216</c:v>
                </c:pt>
                <c:pt idx="1217">
                  <c:v>1217</c:v>
                </c:pt>
                <c:pt idx="1218">
                  <c:v>1218</c:v>
                </c:pt>
                <c:pt idx="1219">
                  <c:v>1219</c:v>
                </c:pt>
                <c:pt idx="1220">
                  <c:v>1220</c:v>
                </c:pt>
                <c:pt idx="1221">
                  <c:v>1221</c:v>
                </c:pt>
                <c:pt idx="1222">
                  <c:v>1222</c:v>
                </c:pt>
                <c:pt idx="1223">
                  <c:v>1223</c:v>
                </c:pt>
                <c:pt idx="1224">
                  <c:v>1224</c:v>
                </c:pt>
                <c:pt idx="1225">
                  <c:v>1225</c:v>
                </c:pt>
                <c:pt idx="1226">
                  <c:v>1226</c:v>
                </c:pt>
                <c:pt idx="1227">
                  <c:v>1227</c:v>
                </c:pt>
                <c:pt idx="1228">
                  <c:v>1228</c:v>
                </c:pt>
                <c:pt idx="1229">
                  <c:v>1229</c:v>
                </c:pt>
                <c:pt idx="1230">
                  <c:v>1230</c:v>
                </c:pt>
                <c:pt idx="1231">
                  <c:v>1231</c:v>
                </c:pt>
                <c:pt idx="1232">
                  <c:v>1232</c:v>
                </c:pt>
                <c:pt idx="1233">
                  <c:v>1233</c:v>
                </c:pt>
                <c:pt idx="1234">
                  <c:v>1234</c:v>
                </c:pt>
                <c:pt idx="1235">
                  <c:v>1235</c:v>
                </c:pt>
                <c:pt idx="1236">
                  <c:v>1236</c:v>
                </c:pt>
                <c:pt idx="1237">
                  <c:v>1237</c:v>
                </c:pt>
                <c:pt idx="1238">
                  <c:v>1238</c:v>
                </c:pt>
                <c:pt idx="1239">
                  <c:v>1239</c:v>
                </c:pt>
                <c:pt idx="1240">
                  <c:v>1240</c:v>
                </c:pt>
                <c:pt idx="1241">
                  <c:v>1241</c:v>
                </c:pt>
                <c:pt idx="1242">
                  <c:v>1242</c:v>
                </c:pt>
                <c:pt idx="1243">
                  <c:v>1243</c:v>
                </c:pt>
                <c:pt idx="1244">
                  <c:v>1244</c:v>
                </c:pt>
                <c:pt idx="1245">
                  <c:v>1245</c:v>
                </c:pt>
                <c:pt idx="1246">
                  <c:v>1246</c:v>
                </c:pt>
                <c:pt idx="1247">
                  <c:v>1247</c:v>
                </c:pt>
                <c:pt idx="1248">
                  <c:v>1248</c:v>
                </c:pt>
                <c:pt idx="1249">
                  <c:v>1249</c:v>
                </c:pt>
                <c:pt idx="1250">
                  <c:v>1250</c:v>
                </c:pt>
                <c:pt idx="1251">
                  <c:v>1251</c:v>
                </c:pt>
                <c:pt idx="1252">
                  <c:v>1252</c:v>
                </c:pt>
                <c:pt idx="1253">
                  <c:v>1253</c:v>
                </c:pt>
                <c:pt idx="1254">
                  <c:v>1254</c:v>
                </c:pt>
                <c:pt idx="1255">
                  <c:v>1255</c:v>
                </c:pt>
                <c:pt idx="1256">
                  <c:v>1256</c:v>
                </c:pt>
                <c:pt idx="1257">
                  <c:v>1257</c:v>
                </c:pt>
                <c:pt idx="1258">
                  <c:v>1258</c:v>
                </c:pt>
                <c:pt idx="1259">
                  <c:v>1259</c:v>
                </c:pt>
                <c:pt idx="1260">
                  <c:v>1260</c:v>
                </c:pt>
                <c:pt idx="1261">
                  <c:v>1261</c:v>
                </c:pt>
                <c:pt idx="1262">
                  <c:v>1262</c:v>
                </c:pt>
                <c:pt idx="1263">
                  <c:v>1263</c:v>
                </c:pt>
                <c:pt idx="1264">
                  <c:v>1264</c:v>
                </c:pt>
                <c:pt idx="1265">
                  <c:v>1265</c:v>
                </c:pt>
                <c:pt idx="1266">
                  <c:v>1266</c:v>
                </c:pt>
                <c:pt idx="1267">
                  <c:v>1267</c:v>
                </c:pt>
                <c:pt idx="1268">
                  <c:v>1268</c:v>
                </c:pt>
                <c:pt idx="1269">
                  <c:v>1269</c:v>
                </c:pt>
                <c:pt idx="1270">
                  <c:v>1270</c:v>
                </c:pt>
                <c:pt idx="1271">
                  <c:v>1271</c:v>
                </c:pt>
                <c:pt idx="1272">
                  <c:v>1272</c:v>
                </c:pt>
                <c:pt idx="1273">
                  <c:v>1273</c:v>
                </c:pt>
                <c:pt idx="1274">
                  <c:v>1274</c:v>
                </c:pt>
                <c:pt idx="1275">
                  <c:v>1275</c:v>
                </c:pt>
                <c:pt idx="1276">
                  <c:v>1276</c:v>
                </c:pt>
                <c:pt idx="1277">
                  <c:v>1277</c:v>
                </c:pt>
                <c:pt idx="1278">
                  <c:v>1278</c:v>
                </c:pt>
                <c:pt idx="1279">
                  <c:v>1279</c:v>
                </c:pt>
                <c:pt idx="1280">
                  <c:v>1280</c:v>
                </c:pt>
                <c:pt idx="1281">
                  <c:v>1281</c:v>
                </c:pt>
                <c:pt idx="1282">
                  <c:v>1282</c:v>
                </c:pt>
                <c:pt idx="1283">
                  <c:v>1283</c:v>
                </c:pt>
                <c:pt idx="1284">
                  <c:v>1284</c:v>
                </c:pt>
                <c:pt idx="1285">
                  <c:v>1285</c:v>
                </c:pt>
                <c:pt idx="1286">
                  <c:v>1286</c:v>
                </c:pt>
                <c:pt idx="1287">
                  <c:v>1287</c:v>
                </c:pt>
                <c:pt idx="1288">
                  <c:v>1288</c:v>
                </c:pt>
                <c:pt idx="1289">
                  <c:v>1289</c:v>
                </c:pt>
                <c:pt idx="1290">
                  <c:v>1290</c:v>
                </c:pt>
                <c:pt idx="1291">
                  <c:v>1291</c:v>
                </c:pt>
                <c:pt idx="1292">
                  <c:v>1292</c:v>
                </c:pt>
                <c:pt idx="1293">
                  <c:v>1293</c:v>
                </c:pt>
                <c:pt idx="1294">
                  <c:v>1294</c:v>
                </c:pt>
                <c:pt idx="1295">
                  <c:v>1295</c:v>
                </c:pt>
                <c:pt idx="1296">
                  <c:v>1296</c:v>
                </c:pt>
                <c:pt idx="1297">
                  <c:v>1297</c:v>
                </c:pt>
                <c:pt idx="1298">
                  <c:v>1298</c:v>
                </c:pt>
                <c:pt idx="1299">
                  <c:v>1299</c:v>
                </c:pt>
                <c:pt idx="1300">
                  <c:v>1300</c:v>
                </c:pt>
                <c:pt idx="1301">
                  <c:v>1301</c:v>
                </c:pt>
                <c:pt idx="1302">
                  <c:v>1302</c:v>
                </c:pt>
                <c:pt idx="1303">
                  <c:v>1303</c:v>
                </c:pt>
                <c:pt idx="1304">
                  <c:v>1304</c:v>
                </c:pt>
                <c:pt idx="1305">
                  <c:v>1305</c:v>
                </c:pt>
                <c:pt idx="1306">
                  <c:v>1306</c:v>
                </c:pt>
                <c:pt idx="1307">
                  <c:v>1307</c:v>
                </c:pt>
                <c:pt idx="1308">
                  <c:v>1308</c:v>
                </c:pt>
                <c:pt idx="1309">
                  <c:v>1309</c:v>
                </c:pt>
                <c:pt idx="1310">
                  <c:v>1310</c:v>
                </c:pt>
                <c:pt idx="1311">
                  <c:v>1311</c:v>
                </c:pt>
                <c:pt idx="1312">
                  <c:v>1312</c:v>
                </c:pt>
                <c:pt idx="1313">
                  <c:v>1313</c:v>
                </c:pt>
                <c:pt idx="1314">
                  <c:v>1314</c:v>
                </c:pt>
                <c:pt idx="1315">
                  <c:v>1315</c:v>
                </c:pt>
                <c:pt idx="1316">
                  <c:v>1316</c:v>
                </c:pt>
                <c:pt idx="1317">
                  <c:v>1317</c:v>
                </c:pt>
                <c:pt idx="1318">
                  <c:v>1318</c:v>
                </c:pt>
                <c:pt idx="1319">
                  <c:v>1319</c:v>
                </c:pt>
                <c:pt idx="1320">
                  <c:v>1320</c:v>
                </c:pt>
                <c:pt idx="1321">
                  <c:v>1321</c:v>
                </c:pt>
                <c:pt idx="1322">
                  <c:v>1322</c:v>
                </c:pt>
                <c:pt idx="1323">
                  <c:v>1323</c:v>
                </c:pt>
                <c:pt idx="1324">
                  <c:v>1324</c:v>
                </c:pt>
                <c:pt idx="1325">
                  <c:v>1325</c:v>
                </c:pt>
                <c:pt idx="1326">
                  <c:v>1326</c:v>
                </c:pt>
                <c:pt idx="1327">
                  <c:v>1327</c:v>
                </c:pt>
                <c:pt idx="1328">
                  <c:v>1328</c:v>
                </c:pt>
                <c:pt idx="1329">
                  <c:v>1329</c:v>
                </c:pt>
                <c:pt idx="1330">
                  <c:v>1330</c:v>
                </c:pt>
                <c:pt idx="1331">
                  <c:v>1331</c:v>
                </c:pt>
                <c:pt idx="1332">
                  <c:v>1332</c:v>
                </c:pt>
                <c:pt idx="1333">
                  <c:v>1333</c:v>
                </c:pt>
                <c:pt idx="1334">
                  <c:v>1334</c:v>
                </c:pt>
                <c:pt idx="1335">
                  <c:v>1335</c:v>
                </c:pt>
                <c:pt idx="1336">
                  <c:v>1336</c:v>
                </c:pt>
                <c:pt idx="1337">
                  <c:v>1337</c:v>
                </c:pt>
                <c:pt idx="1338">
                  <c:v>1338</c:v>
                </c:pt>
                <c:pt idx="1339">
                  <c:v>1339</c:v>
                </c:pt>
                <c:pt idx="1340">
                  <c:v>1340</c:v>
                </c:pt>
                <c:pt idx="1341">
                  <c:v>1341</c:v>
                </c:pt>
                <c:pt idx="1342">
                  <c:v>1342</c:v>
                </c:pt>
                <c:pt idx="1343">
                  <c:v>1343</c:v>
                </c:pt>
                <c:pt idx="1344">
                  <c:v>1344</c:v>
                </c:pt>
                <c:pt idx="1345">
                  <c:v>1345</c:v>
                </c:pt>
                <c:pt idx="1346">
                  <c:v>1346</c:v>
                </c:pt>
                <c:pt idx="1347">
                  <c:v>1347</c:v>
                </c:pt>
                <c:pt idx="1348">
                  <c:v>1348</c:v>
                </c:pt>
                <c:pt idx="1349">
                  <c:v>1349</c:v>
                </c:pt>
                <c:pt idx="1350">
                  <c:v>1350</c:v>
                </c:pt>
                <c:pt idx="1351">
                  <c:v>1351</c:v>
                </c:pt>
                <c:pt idx="1352">
                  <c:v>1352</c:v>
                </c:pt>
                <c:pt idx="1353">
                  <c:v>1353</c:v>
                </c:pt>
                <c:pt idx="1354">
                  <c:v>1354</c:v>
                </c:pt>
                <c:pt idx="1355">
                  <c:v>1355</c:v>
                </c:pt>
                <c:pt idx="1356">
                  <c:v>1356</c:v>
                </c:pt>
                <c:pt idx="1357">
                  <c:v>1357</c:v>
                </c:pt>
                <c:pt idx="1358">
                  <c:v>1358</c:v>
                </c:pt>
                <c:pt idx="1359">
                  <c:v>1359</c:v>
                </c:pt>
                <c:pt idx="1360">
                  <c:v>1360</c:v>
                </c:pt>
                <c:pt idx="1361">
                  <c:v>1361</c:v>
                </c:pt>
                <c:pt idx="1362">
                  <c:v>1362</c:v>
                </c:pt>
                <c:pt idx="1363">
                  <c:v>1363</c:v>
                </c:pt>
                <c:pt idx="1364">
                  <c:v>1364</c:v>
                </c:pt>
                <c:pt idx="1365">
                  <c:v>1365</c:v>
                </c:pt>
                <c:pt idx="1366">
                  <c:v>1366</c:v>
                </c:pt>
                <c:pt idx="1367">
                  <c:v>1367</c:v>
                </c:pt>
                <c:pt idx="1368">
                  <c:v>1368</c:v>
                </c:pt>
                <c:pt idx="1369">
                  <c:v>1369</c:v>
                </c:pt>
                <c:pt idx="1370">
                  <c:v>1370</c:v>
                </c:pt>
                <c:pt idx="1371">
                  <c:v>1371</c:v>
                </c:pt>
                <c:pt idx="1372">
                  <c:v>1372</c:v>
                </c:pt>
                <c:pt idx="1373">
                  <c:v>1373</c:v>
                </c:pt>
                <c:pt idx="1374">
                  <c:v>1374</c:v>
                </c:pt>
                <c:pt idx="1375">
                  <c:v>1375</c:v>
                </c:pt>
                <c:pt idx="1376">
                  <c:v>1376</c:v>
                </c:pt>
                <c:pt idx="1377">
                  <c:v>1377</c:v>
                </c:pt>
                <c:pt idx="1378">
                  <c:v>1378</c:v>
                </c:pt>
                <c:pt idx="1379">
                  <c:v>1379</c:v>
                </c:pt>
                <c:pt idx="1380">
                  <c:v>1380</c:v>
                </c:pt>
                <c:pt idx="1381">
                  <c:v>1381</c:v>
                </c:pt>
                <c:pt idx="1382">
                  <c:v>1382</c:v>
                </c:pt>
                <c:pt idx="1383">
                  <c:v>1383</c:v>
                </c:pt>
                <c:pt idx="1384">
                  <c:v>1384</c:v>
                </c:pt>
                <c:pt idx="1385">
                  <c:v>1385</c:v>
                </c:pt>
                <c:pt idx="1386">
                  <c:v>1386</c:v>
                </c:pt>
                <c:pt idx="1387">
                  <c:v>1387</c:v>
                </c:pt>
                <c:pt idx="1388">
                  <c:v>1388</c:v>
                </c:pt>
                <c:pt idx="1389">
                  <c:v>1389</c:v>
                </c:pt>
                <c:pt idx="1390">
                  <c:v>1390</c:v>
                </c:pt>
                <c:pt idx="1391">
                  <c:v>1391</c:v>
                </c:pt>
                <c:pt idx="1392">
                  <c:v>1392</c:v>
                </c:pt>
                <c:pt idx="1393">
                  <c:v>1393</c:v>
                </c:pt>
                <c:pt idx="1394">
                  <c:v>1394</c:v>
                </c:pt>
                <c:pt idx="1395">
                  <c:v>1395</c:v>
                </c:pt>
                <c:pt idx="1396">
                  <c:v>1396</c:v>
                </c:pt>
                <c:pt idx="1397">
                  <c:v>1397</c:v>
                </c:pt>
                <c:pt idx="1398">
                  <c:v>1398</c:v>
                </c:pt>
                <c:pt idx="1399">
                  <c:v>1399</c:v>
                </c:pt>
                <c:pt idx="1400">
                  <c:v>1400</c:v>
                </c:pt>
                <c:pt idx="1401">
                  <c:v>1401</c:v>
                </c:pt>
                <c:pt idx="1402">
                  <c:v>1402</c:v>
                </c:pt>
                <c:pt idx="1403">
                  <c:v>1403</c:v>
                </c:pt>
                <c:pt idx="1404">
                  <c:v>1404</c:v>
                </c:pt>
                <c:pt idx="1405">
                  <c:v>1405</c:v>
                </c:pt>
                <c:pt idx="1406">
                  <c:v>1406</c:v>
                </c:pt>
                <c:pt idx="1407">
                  <c:v>1407</c:v>
                </c:pt>
                <c:pt idx="1408">
                  <c:v>1408</c:v>
                </c:pt>
                <c:pt idx="1409">
                  <c:v>1409</c:v>
                </c:pt>
                <c:pt idx="1410">
                  <c:v>1410</c:v>
                </c:pt>
                <c:pt idx="1411">
                  <c:v>1411</c:v>
                </c:pt>
                <c:pt idx="1412">
                  <c:v>1412</c:v>
                </c:pt>
                <c:pt idx="1413">
                  <c:v>1413</c:v>
                </c:pt>
                <c:pt idx="1414">
                  <c:v>1414</c:v>
                </c:pt>
                <c:pt idx="1415">
                  <c:v>1415</c:v>
                </c:pt>
                <c:pt idx="1416">
                  <c:v>1416</c:v>
                </c:pt>
                <c:pt idx="1417">
                  <c:v>1417</c:v>
                </c:pt>
                <c:pt idx="1418">
                  <c:v>1418</c:v>
                </c:pt>
                <c:pt idx="1419">
                  <c:v>1419</c:v>
                </c:pt>
                <c:pt idx="1420">
                  <c:v>1420</c:v>
                </c:pt>
                <c:pt idx="1421">
                  <c:v>1421</c:v>
                </c:pt>
                <c:pt idx="1422">
                  <c:v>1422</c:v>
                </c:pt>
                <c:pt idx="1423">
                  <c:v>1423</c:v>
                </c:pt>
                <c:pt idx="1424">
                  <c:v>1424</c:v>
                </c:pt>
                <c:pt idx="1425">
                  <c:v>1425</c:v>
                </c:pt>
                <c:pt idx="1426">
                  <c:v>1426</c:v>
                </c:pt>
                <c:pt idx="1427">
                  <c:v>1427</c:v>
                </c:pt>
                <c:pt idx="1428">
                  <c:v>1428</c:v>
                </c:pt>
                <c:pt idx="1429">
                  <c:v>1429</c:v>
                </c:pt>
                <c:pt idx="1430">
                  <c:v>1430</c:v>
                </c:pt>
                <c:pt idx="1431">
                  <c:v>1431</c:v>
                </c:pt>
                <c:pt idx="1432">
                  <c:v>1432</c:v>
                </c:pt>
                <c:pt idx="1433">
                  <c:v>1433</c:v>
                </c:pt>
                <c:pt idx="1434">
                  <c:v>1434</c:v>
                </c:pt>
                <c:pt idx="1435">
                  <c:v>1435</c:v>
                </c:pt>
                <c:pt idx="1436">
                  <c:v>1436</c:v>
                </c:pt>
                <c:pt idx="1437">
                  <c:v>1437</c:v>
                </c:pt>
                <c:pt idx="1438">
                  <c:v>1438</c:v>
                </c:pt>
                <c:pt idx="1439">
                  <c:v>1439</c:v>
                </c:pt>
                <c:pt idx="1440">
                  <c:v>1440</c:v>
                </c:pt>
                <c:pt idx="1441">
                  <c:v>1441</c:v>
                </c:pt>
                <c:pt idx="1442">
                  <c:v>1442</c:v>
                </c:pt>
                <c:pt idx="1443">
                  <c:v>1443</c:v>
                </c:pt>
                <c:pt idx="1444">
                  <c:v>1444</c:v>
                </c:pt>
                <c:pt idx="1445">
                  <c:v>1445</c:v>
                </c:pt>
                <c:pt idx="1446">
                  <c:v>1446</c:v>
                </c:pt>
                <c:pt idx="1447">
                  <c:v>1447</c:v>
                </c:pt>
                <c:pt idx="1448">
                  <c:v>1448</c:v>
                </c:pt>
                <c:pt idx="1449">
                  <c:v>1449</c:v>
                </c:pt>
                <c:pt idx="1450">
                  <c:v>1450</c:v>
                </c:pt>
                <c:pt idx="1451">
                  <c:v>1451</c:v>
                </c:pt>
                <c:pt idx="1452">
                  <c:v>1452</c:v>
                </c:pt>
                <c:pt idx="1453">
                  <c:v>1453</c:v>
                </c:pt>
                <c:pt idx="1454">
                  <c:v>1454</c:v>
                </c:pt>
                <c:pt idx="1455">
                  <c:v>1455</c:v>
                </c:pt>
                <c:pt idx="1456">
                  <c:v>1456</c:v>
                </c:pt>
                <c:pt idx="1457">
                  <c:v>1457</c:v>
                </c:pt>
                <c:pt idx="1458">
                  <c:v>1458</c:v>
                </c:pt>
                <c:pt idx="1459">
                  <c:v>1459</c:v>
                </c:pt>
                <c:pt idx="1460">
                  <c:v>1460</c:v>
                </c:pt>
                <c:pt idx="1461">
                  <c:v>1461</c:v>
                </c:pt>
                <c:pt idx="1462">
                  <c:v>1462</c:v>
                </c:pt>
                <c:pt idx="1463">
                  <c:v>1463</c:v>
                </c:pt>
                <c:pt idx="1464">
                  <c:v>1464</c:v>
                </c:pt>
                <c:pt idx="1465">
                  <c:v>1465</c:v>
                </c:pt>
                <c:pt idx="1466">
                  <c:v>1466</c:v>
                </c:pt>
                <c:pt idx="1467">
                  <c:v>1467</c:v>
                </c:pt>
                <c:pt idx="1468">
                  <c:v>1468</c:v>
                </c:pt>
                <c:pt idx="1469">
                  <c:v>1469</c:v>
                </c:pt>
                <c:pt idx="1470">
                  <c:v>1470</c:v>
                </c:pt>
                <c:pt idx="1471">
                  <c:v>1471</c:v>
                </c:pt>
                <c:pt idx="1472">
                  <c:v>1472</c:v>
                </c:pt>
                <c:pt idx="1473">
                  <c:v>1473</c:v>
                </c:pt>
                <c:pt idx="1474">
                  <c:v>1474</c:v>
                </c:pt>
                <c:pt idx="1475">
                  <c:v>1475</c:v>
                </c:pt>
                <c:pt idx="1476">
                  <c:v>1476</c:v>
                </c:pt>
                <c:pt idx="1477">
                  <c:v>1477</c:v>
                </c:pt>
                <c:pt idx="1478">
                  <c:v>1478</c:v>
                </c:pt>
                <c:pt idx="1479">
                  <c:v>1479</c:v>
                </c:pt>
                <c:pt idx="1480">
                  <c:v>1480</c:v>
                </c:pt>
                <c:pt idx="1481">
                  <c:v>1481</c:v>
                </c:pt>
                <c:pt idx="1482">
                  <c:v>1482</c:v>
                </c:pt>
                <c:pt idx="1483">
                  <c:v>1483</c:v>
                </c:pt>
                <c:pt idx="1484">
                  <c:v>1484</c:v>
                </c:pt>
                <c:pt idx="1485">
                  <c:v>1485</c:v>
                </c:pt>
                <c:pt idx="1486">
                  <c:v>1486</c:v>
                </c:pt>
                <c:pt idx="1487">
                  <c:v>1487</c:v>
                </c:pt>
                <c:pt idx="1488">
                  <c:v>1488</c:v>
                </c:pt>
                <c:pt idx="1489">
                  <c:v>1489</c:v>
                </c:pt>
                <c:pt idx="1490">
                  <c:v>1490</c:v>
                </c:pt>
                <c:pt idx="1491">
                  <c:v>1491</c:v>
                </c:pt>
                <c:pt idx="1492">
                  <c:v>1492</c:v>
                </c:pt>
                <c:pt idx="1493">
                  <c:v>1493</c:v>
                </c:pt>
                <c:pt idx="1494">
                  <c:v>1494</c:v>
                </c:pt>
                <c:pt idx="1495">
                  <c:v>1495</c:v>
                </c:pt>
                <c:pt idx="1496">
                  <c:v>1496</c:v>
                </c:pt>
                <c:pt idx="1497">
                  <c:v>1497</c:v>
                </c:pt>
                <c:pt idx="1498">
                  <c:v>1498</c:v>
                </c:pt>
                <c:pt idx="1499">
                  <c:v>1499</c:v>
                </c:pt>
                <c:pt idx="1500">
                  <c:v>1500</c:v>
                </c:pt>
                <c:pt idx="1501">
                  <c:v>1501</c:v>
                </c:pt>
                <c:pt idx="1502">
                  <c:v>1502</c:v>
                </c:pt>
                <c:pt idx="1503">
                  <c:v>1503</c:v>
                </c:pt>
                <c:pt idx="1504">
                  <c:v>1504</c:v>
                </c:pt>
                <c:pt idx="1505">
                  <c:v>1505</c:v>
                </c:pt>
                <c:pt idx="1506">
                  <c:v>1506</c:v>
                </c:pt>
                <c:pt idx="1507">
                  <c:v>1507</c:v>
                </c:pt>
                <c:pt idx="1508">
                  <c:v>1508</c:v>
                </c:pt>
                <c:pt idx="1509">
                  <c:v>1509</c:v>
                </c:pt>
                <c:pt idx="1510">
                  <c:v>1510</c:v>
                </c:pt>
                <c:pt idx="1511">
                  <c:v>1511</c:v>
                </c:pt>
                <c:pt idx="1512">
                  <c:v>1512</c:v>
                </c:pt>
                <c:pt idx="1513">
                  <c:v>1513</c:v>
                </c:pt>
                <c:pt idx="1514">
                  <c:v>1514</c:v>
                </c:pt>
                <c:pt idx="1515">
                  <c:v>1515</c:v>
                </c:pt>
                <c:pt idx="1516">
                  <c:v>1516</c:v>
                </c:pt>
                <c:pt idx="1517">
                  <c:v>1517</c:v>
                </c:pt>
                <c:pt idx="1518">
                  <c:v>1518</c:v>
                </c:pt>
                <c:pt idx="1519">
                  <c:v>1519</c:v>
                </c:pt>
                <c:pt idx="1520">
                  <c:v>1520</c:v>
                </c:pt>
                <c:pt idx="1521">
                  <c:v>1521</c:v>
                </c:pt>
                <c:pt idx="1522">
                  <c:v>1522</c:v>
                </c:pt>
                <c:pt idx="1523">
                  <c:v>1523</c:v>
                </c:pt>
                <c:pt idx="1524">
                  <c:v>1524</c:v>
                </c:pt>
                <c:pt idx="1525">
                  <c:v>1525</c:v>
                </c:pt>
                <c:pt idx="1526">
                  <c:v>1526</c:v>
                </c:pt>
                <c:pt idx="1527">
                  <c:v>1527</c:v>
                </c:pt>
                <c:pt idx="1528">
                  <c:v>1528</c:v>
                </c:pt>
                <c:pt idx="1529">
                  <c:v>1529</c:v>
                </c:pt>
                <c:pt idx="1530">
                  <c:v>1530</c:v>
                </c:pt>
                <c:pt idx="1531">
                  <c:v>1531</c:v>
                </c:pt>
                <c:pt idx="1532">
                  <c:v>1532</c:v>
                </c:pt>
                <c:pt idx="1533">
                  <c:v>1533</c:v>
                </c:pt>
                <c:pt idx="1534">
                  <c:v>1534</c:v>
                </c:pt>
                <c:pt idx="1535">
                  <c:v>1535</c:v>
                </c:pt>
                <c:pt idx="1536">
                  <c:v>1536</c:v>
                </c:pt>
                <c:pt idx="1537">
                  <c:v>1537</c:v>
                </c:pt>
                <c:pt idx="1538">
                  <c:v>1538</c:v>
                </c:pt>
                <c:pt idx="1539">
                  <c:v>1539</c:v>
                </c:pt>
                <c:pt idx="1540">
                  <c:v>1540</c:v>
                </c:pt>
                <c:pt idx="1541">
                  <c:v>1541</c:v>
                </c:pt>
                <c:pt idx="1542">
                  <c:v>1542</c:v>
                </c:pt>
                <c:pt idx="1543">
                  <c:v>1543</c:v>
                </c:pt>
                <c:pt idx="1544">
                  <c:v>1544</c:v>
                </c:pt>
                <c:pt idx="1545">
                  <c:v>1545</c:v>
                </c:pt>
                <c:pt idx="1546">
                  <c:v>1546</c:v>
                </c:pt>
                <c:pt idx="1547">
                  <c:v>1547</c:v>
                </c:pt>
                <c:pt idx="1548">
                  <c:v>1548</c:v>
                </c:pt>
                <c:pt idx="1549">
                  <c:v>1549</c:v>
                </c:pt>
                <c:pt idx="1550">
                  <c:v>1550</c:v>
                </c:pt>
                <c:pt idx="1551">
                  <c:v>1551</c:v>
                </c:pt>
                <c:pt idx="1552">
                  <c:v>1552</c:v>
                </c:pt>
                <c:pt idx="1553">
                  <c:v>1553</c:v>
                </c:pt>
                <c:pt idx="1554">
                  <c:v>1554</c:v>
                </c:pt>
                <c:pt idx="1555">
                  <c:v>1555</c:v>
                </c:pt>
                <c:pt idx="1556">
                  <c:v>1556</c:v>
                </c:pt>
                <c:pt idx="1557">
                  <c:v>1557</c:v>
                </c:pt>
                <c:pt idx="1558">
                  <c:v>1558</c:v>
                </c:pt>
                <c:pt idx="1559">
                  <c:v>1559</c:v>
                </c:pt>
                <c:pt idx="1560">
                  <c:v>1560</c:v>
                </c:pt>
                <c:pt idx="1561">
                  <c:v>1561</c:v>
                </c:pt>
                <c:pt idx="1562">
                  <c:v>1562</c:v>
                </c:pt>
                <c:pt idx="1563">
                  <c:v>1563</c:v>
                </c:pt>
                <c:pt idx="1564">
                  <c:v>1564</c:v>
                </c:pt>
                <c:pt idx="1565">
                  <c:v>1565</c:v>
                </c:pt>
                <c:pt idx="1566">
                  <c:v>1566</c:v>
                </c:pt>
                <c:pt idx="1567">
                  <c:v>1567</c:v>
                </c:pt>
                <c:pt idx="1568">
                  <c:v>1568</c:v>
                </c:pt>
                <c:pt idx="1569">
                  <c:v>1569</c:v>
                </c:pt>
                <c:pt idx="1570">
                  <c:v>1570</c:v>
                </c:pt>
                <c:pt idx="1571">
                  <c:v>1571</c:v>
                </c:pt>
                <c:pt idx="1572">
                  <c:v>1572</c:v>
                </c:pt>
                <c:pt idx="1573">
                  <c:v>1573</c:v>
                </c:pt>
                <c:pt idx="1574">
                  <c:v>1574</c:v>
                </c:pt>
                <c:pt idx="1575">
                  <c:v>1575</c:v>
                </c:pt>
                <c:pt idx="1576">
                  <c:v>1576</c:v>
                </c:pt>
                <c:pt idx="1577">
                  <c:v>1577</c:v>
                </c:pt>
                <c:pt idx="1578">
                  <c:v>1578</c:v>
                </c:pt>
                <c:pt idx="1579">
                  <c:v>1579</c:v>
                </c:pt>
                <c:pt idx="1580">
                  <c:v>1580</c:v>
                </c:pt>
                <c:pt idx="1581">
                  <c:v>1581</c:v>
                </c:pt>
                <c:pt idx="1582">
                  <c:v>1582</c:v>
                </c:pt>
                <c:pt idx="1583">
                  <c:v>1583</c:v>
                </c:pt>
                <c:pt idx="1584">
                  <c:v>1584</c:v>
                </c:pt>
                <c:pt idx="1585">
                  <c:v>1585</c:v>
                </c:pt>
                <c:pt idx="1586">
                  <c:v>1586</c:v>
                </c:pt>
                <c:pt idx="1587">
                  <c:v>1587</c:v>
                </c:pt>
                <c:pt idx="1588">
                  <c:v>1588</c:v>
                </c:pt>
                <c:pt idx="1589">
                  <c:v>1589</c:v>
                </c:pt>
                <c:pt idx="1590">
                  <c:v>1590</c:v>
                </c:pt>
                <c:pt idx="1591">
                  <c:v>1591</c:v>
                </c:pt>
                <c:pt idx="1592">
                  <c:v>1592</c:v>
                </c:pt>
                <c:pt idx="1593">
                  <c:v>1593</c:v>
                </c:pt>
                <c:pt idx="1594">
                  <c:v>1594</c:v>
                </c:pt>
                <c:pt idx="1595">
                  <c:v>1595</c:v>
                </c:pt>
                <c:pt idx="1596">
                  <c:v>1596</c:v>
                </c:pt>
                <c:pt idx="1597">
                  <c:v>1597</c:v>
                </c:pt>
                <c:pt idx="1598">
                  <c:v>1598</c:v>
                </c:pt>
                <c:pt idx="1599">
                  <c:v>1599</c:v>
                </c:pt>
                <c:pt idx="1600">
                  <c:v>1600</c:v>
                </c:pt>
                <c:pt idx="1601">
                  <c:v>1601</c:v>
                </c:pt>
                <c:pt idx="1602">
                  <c:v>1602</c:v>
                </c:pt>
                <c:pt idx="1603">
                  <c:v>1603</c:v>
                </c:pt>
                <c:pt idx="1604">
                  <c:v>1604</c:v>
                </c:pt>
                <c:pt idx="1605">
                  <c:v>1605</c:v>
                </c:pt>
                <c:pt idx="1606">
                  <c:v>1606</c:v>
                </c:pt>
                <c:pt idx="1607">
                  <c:v>1607</c:v>
                </c:pt>
                <c:pt idx="1608">
                  <c:v>1608</c:v>
                </c:pt>
                <c:pt idx="1609">
                  <c:v>1609</c:v>
                </c:pt>
                <c:pt idx="1610">
                  <c:v>1610</c:v>
                </c:pt>
                <c:pt idx="1611">
                  <c:v>1611</c:v>
                </c:pt>
                <c:pt idx="1612">
                  <c:v>1612</c:v>
                </c:pt>
                <c:pt idx="1613">
                  <c:v>1613</c:v>
                </c:pt>
                <c:pt idx="1614">
                  <c:v>1614</c:v>
                </c:pt>
                <c:pt idx="1615">
                  <c:v>1615</c:v>
                </c:pt>
                <c:pt idx="1616">
                  <c:v>1616</c:v>
                </c:pt>
                <c:pt idx="1617">
                  <c:v>1617</c:v>
                </c:pt>
                <c:pt idx="1618">
                  <c:v>1618</c:v>
                </c:pt>
                <c:pt idx="1619">
                  <c:v>1619</c:v>
                </c:pt>
                <c:pt idx="1620">
                  <c:v>1620</c:v>
                </c:pt>
                <c:pt idx="1621">
                  <c:v>1621</c:v>
                </c:pt>
                <c:pt idx="1622">
                  <c:v>1622</c:v>
                </c:pt>
                <c:pt idx="1623">
                  <c:v>1623</c:v>
                </c:pt>
                <c:pt idx="1624">
                  <c:v>1624</c:v>
                </c:pt>
                <c:pt idx="1625">
                  <c:v>1625</c:v>
                </c:pt>
                <c:pt idx="1626">
                  <c:v>1626</c:v>
                </c:pt>
                <c:pt idx="1627">
                  <c:v>1627</c:v>
                </c:pt>
                <c:pt idx="1628">
                  <c:v>1628</c:v>
                </c:pt>
                <c:pt idx="1629">
                  <c:v>1629</c:v>
                </c:pt>
                <c:pt idx="1630">
                  <c:v>1630</c:v>
                </c:pt>
                <c:pt idx="1631">
                  <c:v>1631</c:v>
                </c:pt>
                <c:pt idx="1632">
                  <c:v>1632</c:v>
                </c:pt>
                <c:pt idx="1633">
                  <c:v>1633</c:v>
                </c:pt>
                <c:pt idx="1634">
                  <c:v>1634</c:v>
                </c:pt>
                <c:pt idx="1635">
                  <c:v>1635</c:v>
                </c:pt>
                <c:pt idx="1636">
                  <c:v>1636</c:v>
                </c:pt>
                <c:pt idx="1637">
                  <c:v>1637</c:v>
                </c:pt>
                <c:pt idx="1638">
                  <c:v>1638</c:v>
                </c:pt>
                <c:pt idx="1639">
                  <c:v>1639</c:v>
                </c:pt>
                <c:pt idx="1640">
                  <c:v>1640</c:v>
                </c:pt>
                <c:pt idx="1641">
                  <c:v>1641</c:v>
                </c:pt>
                <c:pt idx="1642">
                  <c:v>1642</c:v>
                </c:pt>
                <c:pt idx="1643">
                  <c:v>1643</c:v>
                </c:pt>
                <c:pt idx="1644">
                  <c:v>1644</c:v>
                </c:pt>
                <c:pt idx="1645">
                  <c:v>1645</c:v>
                </c:pt>
                <c:pt idx="1646">
                  <c:v>1646</c:v>
                </c:pt>
                <c:pt idx="1647">
                  <c:v>1647</c:v>
                </c:pt>
                <c:pt idx="1648">
                  <c:v>1648</c:v>
                </c:pt>
                <c:pt idx="1649">
                  <c:v>1649</c:v>
                </c:pt>
                <c:pt idx="1650">
                  <c:v>1650</c:v>
                </c:pt>
                <c:pt idx="1651">
                  <c:v>1651</c:v>
                </c:pt>
                <c:pt idx="1652">
                  <c:v>1652</c:v>
                </c:pt>
                <c:pt idx="1653">
                  <c:v>1653</c:v>
                </c:pt>
                <c:pt idx="1654">
                  <c:v>1654</c:v>
                </c:pt>
                <c:pt idx="1655">
                  <c:v>1655</c:v>
                </c:pt>
                <c:pt idx="1656">
                  <c:v>1656</c:v>
                </c:pt>
                <c:pt idx="1657">
                  <c:v>1657</c:v>
                </c:pt>
                <c:pt idx="1658">
                  <c:v>1658</c:v>
                </c:pt>
                <c:pt idx="1659">
                  <c:v>1659</c:v>
                </c:pt>
                <c:pt idx="1660">
                  <c:v>1660</c:v>
                </c:pt>
                <c:pt idx="1661">
                  <c:v>1661</c:v>
                </c:pt>
                <c:pt idx="1662">
                  <c:v>1662</c:v>
                </c:pt>
                <c:pt idx="1663">
                  <c:v>1663</c:v>
                </c:pt>
                <c:pt idx="1664">
                  <c:v>1664</c:v>
                </c:pt>
                <c:pt idx="1665">
                  <c:v>1665</c:v>
                </c:pt>
                <c:pt idx="1666">
                  <c:v>1666</c:v>
                </c:pt>
                <c:pt idx="1667">
                  <c:v>1667</c:v>
                </c:pt>
                <c:pt idx="1668">
                  <c:v>1668</c:v>
                </c:pt>
                <c:pt idx="1669">
                  <c:v>1669</c:v>
                </c:pt>
                <c:pt idx="1670">
                  <c:v>1670</c:v>
                </c:pt>
                <c:pt idx="1671">
                  <c:v>1671</c:v>
                </c:pt>
                <c:pt idx="1672">
                  <c:v>1672</c:v>
                </c:pt>
                <c:pt idx="1673">
                  <c:v>1673</c:v>
                </c:pt>
                <c:pt idx="1674">
                  <c:v>1674</c:v>
                </c:pt>
                <c:pt idx="1675">
                  <c:v>1675</c:v>
                </c:pt>
                <c:pt idx="1676">
                  <c:v>1676</c:v>
                </c:pt>
                <c:pt idx="1677">
                  <c:v>1677</c:v>
                </c:pt>
                <c:pt idx="1678">
                  <c:v>1678</c:v>
                </c:pt>
                <c:pt idx="1679">
                  <c:v>1679</c:v>
                </c:pt>
                <c:pt idx="1680">
                  <c:v>1680</c:v>
                </c:pt>
                <c:pt idx="1681">
                  <c:v>1681</c:v>
                </c:pt>
                <c:pt idx="1682">
                  <c:v>1682</c:v>
                </c:pt>
                <c:pt idx="1683">
                  <c:v>1683</c:v>
                </c:pt>
                <c:pt idx="1684">
                  <c:v>1684</c:v>
                </c:pt>
                <c:pt idx="1685">
                  <c:v>1685</c:v>
                </c:pt>
                <c:pt idx="1686">
                  <c:v>1686</c:v>
                </c:pt>
                <c:pt idx="1687">
                  <c:v>1687</c:v>
                </c:pt>
                <c:pt idx="1688">
                  <c:v>1688</c:v>
                </c:pt>
                <c:pt idx="1689">
                  <c:v>1689</c:v>
                </c:pt>
                <c:pt idx="1690">
                  <c:v>1690</c:v>
                </c:pt>
                <c:pt idx="1691">
                  <c:v>1691</c:v>
                </c:pt>
                <c:pt idx="1692">
                  <c:v>1692</c:v>
                </c:pt>
                <c:pt idx="1693">
                  <c:v>1693</c:v>
                </c:pt>
                <c:pt idx="1694">
                  <c:v>1694</c:v>
                </c:pt>
                <c:pt idx="1695">
                  <c:v>1695</c:v>
                </c:pt>
                <c:pt idx="1696">
                  <c:v>1696</c:v>
                </c:pt>
                <c:pt idx="1697">
                  <c:v>1697</c:v>
                </c:pt>
                <c:pt idx="1698">
                  <c:v>1698</c:v>
                </c:pt>
                <c:pt idx="1699">
                  <c:v>1699</c:v>
                </c:pt>
                <c:pt idx="1700">
                  <c:v>1700</c:v>
                </c:pt>
                <c:pt idx="1701">
                  <c:v>1701</c:v>
                </c:pt>
                <c:pt idx="1702">
                  <c:v>1702</c:v>
                </c:pt>
                <c:pt idx="1703">
                  <c:v>1703</c:v>
                </c:pt>
                <c:pt idx="1704">
                  <c:v>1704</c:v>
                </c:pt>
                <c:pt idx="1705">
                  <c:v>1705</c:v>
                </c:pt>
                <c:pt idx="1706">
                  <c:v>1706</c:v>
                </c:pt>
                <c:pt idx="1707">
                  <c:v>1707</c:v>
                </c:pt>
                <c:pt idx="1708">
                  <c:v>1708</c:v>
                </c:pt>
                <c:pt idx="1709">
                  <c:v>1709</c:v>
                </c:pt>
                <c:pt idx="1710">
                  <c:v>1710</c:v>
                </c:pt>
                <c:pt idx="1711">
                  <c:v>1711</c:v>
                </c:pt>
                <c:pt idx="1712">
                  <c:v>1712</c:v>
                </c:pt>
                <c:pt idx="1713">
                  <c:v>1713</c:v>
                </c:pt>
                <c:pt idx="1714">
                  <c:v>1714</c:v>
                </c:pt>
                <c:pt idx="1715">
                  <c:v>1715</c:v>
                </c:pt>
                <c:pt idx="1716">
                  <c:v>1716</c:v>
                </c:pt>
                <c:pt idx="1717">
                  <c:v>1717</c:v>
                </c:pt>
                <c:pt idx="1718">
                  <c:v>1718</c:v>
                </c:pt>
                <c:pt idx="1719">
                  <c:v>1719</c:v>
                </c:pt>
                <c:pt idx="1720">
                  <c:v>1720</c:v>
                </c:pt>
                <c:pt idx="1721">
                  <c:v>1721</c:v>
                </c:pt>
                <c:pt idx="1722">
                  <c:v>1722</c:v>
                </c:pt>
                <c:pt idx="1723">
                  <c:v>1723</c:v>
                </c:pt>
                <c:pt idx="1724">
                  <c:v>1724</c:v>
                </c:pt>
                <c:pt idx="1725">
                  <c:v>1725</c:v>
                </c:pt>
                <c:pt idx="1726">
                  <c:v>1726</c:v>
                </c:pt>
                <c:pt idx="1727">
                  <c:v>1727</c:v>
                </c:pt>
                <c:pt idx="1728">
                  <c:v>1728</c:v>
                </c:pt>
                <c:pt idx="1729">
                  <c:v>1729</c:v>
                </c:pt>
                <c:pt idx="1730">
                  <c:v>1730</c:v>
                </c:pt>
                <c:pt idx="1731">
                  <c:v>1731</c:v>
                </c:pt>
                <c:pt idx="1732">
                  <c:v>1732</c:v>
                </c:pt>
                <c:pt idx="1733">
                  <c:v>1733</c:v>
                </c:pt>
                <c:pt idx="1734">
                  <c:v>1734</c:v>
                </c:pt>
                <c:pt idx="1735">
                  <c:v>1735</c:v>
                </c:pt>
                <c:pt idx="1736">
                  <c:v>1736</c:v>
                </c:pt>
                <c:pt idx="1737">
                  <c:v>1737</c:v>
                </c:pt>
                <c:pt idx="1738">
                  <c:v>1738</c:v>
                </c:pt>
                <c:pt idx="1739">
                  <c:v>1739</c:v>
                </c:pt>
                <c:pt idx="1740">
                  <c:v>1740</c:v>
                </c:pt>
                <c:pt idx="1741">
                  <c:v>1741</c:v>
                </c:pt>
                <c:pt idx="1742">
                  <c:v>1742</c:v>
                </c:pt>
                <c:pt idx="1743">
                  <c:v>1743</c:v>
                </c:pt>
                <c:pt idx="1744">
                  <c:v>1744</c:v>
                </c:pt>
                <c:pt idx="1745">
                  <c:v>1745</c:v>
                </c:pt>
                <c:pt idx="1746">
                  <c:v>1746</c:v>
                </c:pt>
                <c:pt idx="1747">
                  <c:v>1747</c:v>
                </c:pt>
                <c:pt idx="1748">
                  <c:v>1748</c:v>
                </c:pt>
                <c:pt idx="1749">
                  <c:v>1749</c:v>
                </c:pt>
                <c:pt idx="1750">
                  <c:v>1750</c:v>
                </c:pt>
                <c:pt idx="1751">
                  <c:v>1751</c:v>
                </c:pt>
                <c:pt idx="1752">
                  <c:v>1752</c:v>
                </c:pt>
                <c:pt idx="1753">
                  <c:v>1753</c:v>
                </c:pt>
                <c:pt idx="1754">
                  <c:v>1754</c:v>
                </c:pt>
                <c:pt idx="1755">
                  <c:v>1755</c:v>
                </c:pt>
                <c:pt idx="1756">
                  <c:v>1756</c:v>
                </c:pt>
                <c:pt idx="1757">
                  <c:v>1757</c:v>
                </c:pt>
                <c:pt idx="1758">
                  <c:v>1758</c:v>
                </c:pt>
                <c:pt idx="1759">
                  <c:v>1759</c:v>
                </c:pt>
                <c:pt idx="1760">
                  <c:v>1760</c:v>
                </c:pt>
                <c:pt idx="1761">
                  <c:v>1761</c:v>
                </c:pt>
                <c:pt idx="1762">
                  <c:v>1762</c:v>
                </c:pt>
                <c:pt idx="1763">
                  <c:v>1763</c:v>
                </c:pt>
                <c:pt idx="1764">
                  <c:v>1764</c:v>
                </c:pt>
                <c:pt idx="1765">
                  <c:v>1765</c:v>
                </c:pt>
                <c:pt idx="1766">
                  <c:v>1766</c:v>
                </c:pt>
                <c:pt idx="1767">
                  <c:v>1767</c:v>
                </c:pt>
                <c:pt idx="1768">
                  <c:v>1768</c:v>
                </c:pt>
                <c:pt idx="1769">
                  <c:v>1769</c:v>
                </c:pt>
                <c:pt idx="1770">
                  <c:v>1770</c:v>
                </c:pt>
                <c:pt idx="1771">
                  <c:v>1771</c:v>
                </c:pt>
                <c:pt idx="1772">
                  <c:v>1772</c:v>
                </c:pt>
                <c:pt idx="1773">
                  <c:v>1773</c:v>
                </c:pt>
                <c:pt idx="1774">
                  <c:v>1774</c:v>
                </c:pt>
                <c:pt idx="1775">
                  <c:v>1775</c:v>
                </c:pt>
                <c:pt idx="1776">
                  <c:v>1776</c:v>
                </c:pt>
                <c:pt idx="1777">
                  <c:v>1777</c:v>
                </c:pt>
                <c:pt idx="1778">
                  <c:v>1778</c:v>
                </c:pt>
                <c:pt idx="1779">
                  <c:v>1779</c:v>
                </c:pt>
                <c:pt idx="1780">
                  <c:v>1780</c:v>
                </c:pt>
                <c:pt idx="1781">
                  <c:v>1781</c:v>
                </c:pt>
                <c:pt idx="1782">
                  <c:v>1782</c:v>
                </c:pt>
                <c:pt idx="1783">
                  <c:v>1783</c:v>
                </c:pt>
                <c:pt idx="1784">
                  <c:v>1784</c:v>
                </c:pt>
                <c:pt idx="1785">
                  <c:v>1785</c:v>
                </c:pt>
                <c:pt idx="1786">
                  <c:v>1786</c:v>
                </c:pt>
                <c:pt idx="1787">
                  <c:v>1787</c:v>
                </c:pt>
                <c:pt idx="1788">
                  <c:v>1788</c:v>
                </c:pt>
                <c:pt idx="1789">
                  <c:v>1789</c:v>
                </c:pt>
                <c:pt idx="1790">
                  <c:v>1790</c:v>
                </c:pt>
                <c:pt idx="1791">
                  <c:v>1791</c:v>
                </c:pt>
                <c:pt idx="1792">
                  <c:v>1792</c:v>
                </c:pt>
                <c:pt idx="1793">
                  <c:v>1793</c:v>
                </c:pt>
                <c:pt idx="1794">
                  <c:v>1794</c:v>
                </c:pt>
                <c:pt idx="1795">
                  <c:v>1795</c:v>
                </c:pt>
                <c:pt idx="1796">
                  <c:v>1796</c:v>
                </c:pt>
                <c:pt idx="1797">
                  <c:v>1797</c:v>
                </c:pt>
                <c:pt idx="1798">
                  <c:v>1798</c:v>
                </c:pt>
                <c:pt idx="1799">
                  <c:v>1799</c:v>
                </c:pt>
                <c:pt idx="1800">
                  <c:v>1800</c:v>
                </c:pt>
                <c:pt idx="1801">
                  <c:v>1801</c:v>
                </c:pt>
                <c:pt idx="1802">
                  <c:v>1802</c:v>
                </c:pt>
                <c:pt idx="1803">
                  <c:v>1803</c:v>
                </c:pt>
                <c:pt idx="1804">
                  <c:v>1804</c:v>
                </c:pt>
                <c:pt idx="1805">
                  <c:v>1805</c:v>
                </c:pt>
                <c:pt idx="1806">
                  <c:v>1806</c:v>
                </c:pt>
                <c:pt idx="1807">
                  <c:v>1807</c:v>
                </c:pt>
                <c:pt idx="1808">
                  <c:v>1808</c:v>
                </c:pt>
                <c:pt idx="1809">
                  <c:v>1809</c:v>
                </c:pt>
                <c:pt idx="1810">
                  <c:v>1810</c:v>
                </c:pt>
                <c:pt idx="1811">
                  <c:v>1811</c:v>
                </c:pt>
                <c:pt idx="1812">
                  <c:v>1812</c:v>
                </c:pt>
                <c:pt idx="1813">
                  <c:v>1813</c:v>
                </c:pt>
                <c:pt idx="1814">
                  <c:v>1814</c:v>
                </c:pt>
                <c:pt idx="1815">
                  <c:v>1815</c:v>
                </c:pt>
                <c:pt idx="1816">
                  <c:v>1816</c:v>
                </c:pt>
                <c:pt idx="1817">
                  <c:v>1817</c:v>
                </c:pt>
                <c:pt idx="1818">
                  <c:v>1818</c:v>
                </c:pt>
                <c:pt idx="1819">
                  <c:v>1819</c:v>
                </c:pt>
                <c:pt idx="1820">
                  <c:v>1820</c:v>
                </c:pt>
                <c:pt idx="1821">
                  <c:v>1821</c:v>
                </c:pt>
                <c:pt idx="1822">
                  <c:v>1822</c:v>
                </c:pt>
                <c:pt idx="1823">
                  <c:v>1823</c:v>
                </c:pt>
                <c:pt idx="1824">
                  <c:v>1824</c:v>
                </c:pt>
                <c:pt idx="1825">
                  <c:v>1825</c:v>
                </c:pt>
                <c:pt idx="1826">
                  <c:v>1826</c:v>
                </c:pt>
                <c:pt idx="1827">
                  <c:v>1827</c:v>
                </c:pt>
                <c:pt idx="1828">
                  <c:v>1828</c:v>
                </c:pt>
                <c:pt idx="1829">
                  <c:v>1829</c:v>
                </c:pt>
                <c:pt idx="1830">
                  <c:v>1830</c:v>
                </c:pt>
                <c:pt idx="1831">
                  <c:v>1831</c:v>
                </c:pt>
                <c:pt idx="1832">
                  <c:v>1832</c:v>
                </c:pt>
                <c:pt idx="1833">
                  <c:v>1833</c:v>
                </c:pt>
                <c:pt idx="1834">
                  <c:v>1834</c:v>
                </c:pt>
                <c:pt idx="1835">
                  <c:v>1835</c:v>
                </c:pt>
                <c:pt idx="1836">
                  <c:v>1836</c:v>
                </c:pt>
                <c:pt idx="1837">
                  <c:v>1837</c:v>
                </c:pt>
                <c:pt idx="1838">
                  <c:v>1838</c:v>
                </c:pt>
                <c:pt idx="1839">
                  <c:v>1839</c:v>
                </c:pt>
                <c:pt idx="1840">
                  <c:v>1840</c:v>
                </c:pt>
                <c:pt idx="1841">
                  <c:v>1841</c:v>
                </c:pt>
                <c:pt idx="1842">
                  <c:v>1842</c:v>
                </c:pt>
                <c:pt idx="1843">
                  <c:v>1843</c:v>
                </c:pt>
                <c:pt idx="1844">
                  <c:v>1844</c:v>
                </c:pt>
                <c:pt idx="1845">
                  <c:v>1845</c:v>
                </c:pt>
                <c:pt idx="1846">
                  <c:v>1846</c:v>
                </c:pt>
                <c:pt idx="1847">
                  <c:v>1847</c:v>
                </c:pt>
                <c:pt idx="1848">
                  <c:v>1848</c:v>
                </c:pt>
                <c:pt idx="1849">
                  <c:v>1849</c:v>
                </c:pt>
                <c:pt idx="1850">
                  <c:v>1850</c:v>
                </c:pt>
                <c:pt idx="1851">
                  <c:v>1851</c:v>
                </c:pt>
                <c:pt idx="1852">
                  <c:v>1852</c:v>
                </c:pt>
                <c:pt idx="1853">
                  <c:v>1853</c:v>
                </c:pt>
                <c:pt idx="1854">
                  <c:v>1854</c:v>
                </c:pt>
                <c:pt idx="1855">
                  <c:v>1855</c:v>
                </c:pt>
                <c:pt idx="1856">
                  <c:v>1856</c:v>
                </c:pt>
                <c:pt idx="1857">
                  <c:v>1857</c:v>
                </c:pt>
                <c:pt idx="1858">
                  <c:v>1858</c:v>
                </c:pt>
                <c:pt idx="1859">
                  <c:v>1859</c:v>
                </c:pt>
                <c:pt idx="1860">
                  <c:v>1860</c:v>
                </c:pt>
                <c:pt idx="1861">
                  <c:v>1861</c:v>
                </c:pt>
                <c:pt idx="1862">
                  <c:v>1862</c:v>
                </c:pt>
                <c:pt idx="1863">
                  <c:v>1863</c:v>
                </c:pt>
                <c:pt idx="1864">
                  <c:v>1864</c:v>
                </c:pt>
                <c:pt idx="1865">
                  <c:v>1865</c:v>
                </c:pt>
                <c:pt idx="1866">
                  <c:v>1866</c:v>
                </c:pt>
                <c:pt idx="1867">
                  <c:v>1867</c:v>
                </c:pt>
                <c:pt idx="1868">
                  <c:v>1868</c:v>
                </c:pt>
                <c:pt idx="1869">
                  <c:v>1869</c:v>
                </c:pt>
                <c:pt idx="1870">
                  <c:v>1870</c:v>
                </c:pt>
                <c:pt idx="1871">
                  <c:v>1871</c:v>
                </c:pt>
                <c:pt idx="1872">
                  <c:v>1872</c:v>
                </c:pt>
                <c:pt idx="1873">
                  <c:v>1873</c:v>
                </c:pt>
                <c:pt idx="1874">
                  <c:v>1874</c:v>
                </c:pt>
                <c:pt idx="1875">
                  <c:v>1875</c:v>
                </c:pt>
                <c:pt idx="1876">
                  <c:v>1876</c:v>
                </c:pt>
                <c:pt idx="1877">
                  <c:v>1877</c:v>
                </c:pt>
                <c:pt idx="1878">
                  <c:v>1878</c:v>
                </c:pt>
                <c:pt idx="1879">
                  <c:v>1879</c:v>
                </c:pt>
                <c:pt idx="1880">
                  <c:v>1880</c:v>
                </c:pt>
                <c:pt idx="1881">
                  <c:v>1881</c:v>
                </c:pt>
                <c:pt idx="1882">
                  <c:v>1882</c:v>
                </c:pt>
                <c:pt idx="1883">
                  <c:v>1883</c:v>
                </c:pt>
                <c:pt idx="1884">
                  <c:v>1884</c:v>
                </c:pt>
                <c:pt idx="1885">
                  <c:v>1885</c:v>
                </c:pt>
                <c:pt idx="1886">
                  <c:v>1886</c:v>
                </c:pt>
                <c:pt idx="1887">
                  <c:v>1887</c:v>
                </c:pt>
                <c:pt idx="1888">
                  <c:v>1888</c:v>
                </c:pt>
                <c:pt idx="1889">
                  <c:v>1889</c:v>
                </c:pt>
                <c:pt idx="1890">
                  <c:v>1890</c:v>
                </c:pt>
                <c:pt idx="1891">
                  <c:v>1891</c:v>
                </c:pt>
                <c:pt idx="1892">
                  <c:v>1892</c:v>
                </c:pt>
                <c:pt idx="1893">
                  <c:v>1893</c:v>
                </c:pt>
                <c:pt idx="1894">
                  <c:v>1894</c:v>
                </c:pt>
                <c:pt idx="1895">
                  <c:v>1895</c:v>
                </c:pt>
                <c:pt idx="1896">
                  <c:v>1896</c:v>
                </c:pt>
                <c:pt idx="1897">
                  <c:v>1897</c:v>
                </c:pt>
                <c:pt idx="1898">
                  <c:v>1898</c:v>
                </c:pt>
                <c:pt idx="1899">
                  <c:v>1899</c:v>
                </c:pt>
                <c:pt idx="1900">
                  <c:v>1900</c:v>
                </c:pt>
                <c:pt idx="1901">
                  <c:v>1901</c:v>
                </c:pt>
                <c:pt idx="1902">
                  <c:v>1902</c:v>
                </c:pt>
                <c:pt idx="1903">
                  <c:v>1903</c:v>
                </c:pt>
                <c:pt idx="1904">
                  <c:v>1904</c:v>
                </c:pt>
                <c:pt idx="1905">
                  <c:v>1905</c:v>
                </c:pt>
                <c:pt idx="1906">
                  <c:v>1906</c:v>
                </c:pt>
                <c:pt idx="1907">
                  <c:v>1907</c:v>
                </c:pt>
                <c:pt idx="1908">
                  <c:v>1908</c:v>
                </c:pt>
                <c:pt idx="1909">
                  <c:v>1909</c:v>
                </c:pt>
                <c:pt idx="1910">
                  <c:v>1910</c:v>
                </c:pt>
                <c:pt idx="1911">
                  <c:v>1911</c:v>
                </c:pt>
                <c:pt idx="1912">
                  <c:v>1912</c:v>
                </c:pt>
                <c:pt idx="1913">
                  <c:v>1913</c:v>
                </c:pt>
                <c:pt idx="1914">
                  <c:v>1914</c:v>
                </c:pt>
                <c:pt idx="1915">
                  <c:v>1915</c:v>
                </c:pt>
                <c:pt idx="1916">
                  <c:v>1916</c:v>
                </c:pt>
                <c:pt idx="1917">
                  <c:v>1917</c:v>
                </c:pt>
                <c:pt idx="1918">
                  <c:v>1918</c:v>
                </c:pt>
                <c:pt idx="1919">
                  <c:v>1919</c:v>
                </c:pt>
                <c:pt idx="1920">
                  <c:v>1920</c:v>
                </c:pt>
                <c:pt idx="1921">
                  <c:v>1921</c:v>
                </c:pt>
                <c:pt idx="1922">
                  <c:v>1922</c:v>
                </c:pt>
                <c:pt idx="1923">
                  <c:v>1923</c:v>
                </c:pt>
                <c:pt idx="1924">
                  <c:v>1924</c:v>
                </c:pt>
                <c:pt idx="1925">
                  <c:v>1925</c:v>
                </c:pt>
                <c:pt idx="1926">
                  <c:v>1926</c:v>
                </c:pt>
                <c:pt idx="1927">
                  <c:v>1927</c:v>
                </c:pt>
                <c:pt idx="1928">
                  <c:v>1928</c:v>
                </c:pt>
                <c:pt idx="1929">
                  <c:v>1929</c:v>
                </c:pt>
                <c:pt idx="1930">
                  <c:v>1930</c:v>
                </c:pt>
                <c:pt idx="1931">
                  <c:v>1931</c:v>
                </c:pt>
                <c:pt idx="1932">
                  <c:v>1932</c:v>
                </c:pt>
                <c:pt idx="1933">
                  <c:v>1933</c:v>
                </c:pt>
                <c:pt idx="1934">
                  <c:v>1934</c:v>
                </c:pt>
                <c:pt idx="1935">
                  <c:v>1935</c:v>
                </c:pt>
                <c:pt idx="1936">
                  <c:v>1936</c:v>
                </c:pt>
                <c:pt idx="1937">
                  <c:v>1937</c:v>
                </c:pt>
                <c:pt idx="1938">
                  <c:v>1938</c:v>
                </c:pt>
                <c:pt idx="1939">
                  <c:v>1939</c:v>
                </c:pt>
                <c:pt idx="1940">
                  <c:v>1940</c:v>
                </c:pt>
                <c:pt idx="1941">
                  <c:v>1941</c:v>
                </c:pt>
                <c:pt idx="1942">
                  <c:v>1942</c:v>
                </c:pt>
                <c:pt idx="1943">
                  <c:v>1943</c:v>
                </c:pt>
                <c:pt idx="1944">
                  <c:v>1944</c:v>
                </c:pt>
                <c:pt idx="1945">
                  <c:v>1945</c:v>
                </c:pt>
                <c:pt idx="1946">
                  <c:v>1946</c:v>
                </c:pt>
                <c:pt idx="1947">
                  <c:v>1947</c:v>
                </c:pt>
                <c:pt idx="1948">
                  <c:v>1948</c:v>
                </c:pt>
                <c:pt idx="1949">
                  <c:v>1949</c:v>
                </c:pt>
                <c:pt idx="1950">
                  <c:v>1950</c:v>
                </c:pt>
                <c:pt idx="1951">
                  <c:v>1951</c:v>
                </c:pt>
                <c:pt idx="1952">
                  <c:v>1952</c:v>
                </c:pt>
                <c:pt idx="1953">
                  <c:v>1953</c:v>
                </c:pt>
                <c:pt idx="1954">
                  <c:v>1954</c:v>
                </c:pt>
                <c:pt idx="1955">
                  <c:v>1955</c:v>
                </c:pt>
                <c:pt idx="1956">
                  <c:v>1956</c:v>
                </c:pt>
                <c:pt idx="1957">
                  <c:v>1957</c:v>
                </c:pt>
                <c:pt idx="1958">
                  <c:v>1958</c:v>
                </c:pt>
                <c:pt idx="1959">
                  <c:v>1959</c:v>
                </c:pt>
                <c:pt idx="1960">
                  <c:v>1960</c:v>
                </c:pt>
                <c:pt idx="1961">
                  <c:v>1961</c:v>
                </c:pt>
                <c:pt idx="1962">
                  <c:v>1962</c:v>
                </c:pt>
                <c:pt idx="1963">
                  <c:v>1963</c:v>
                </c:pt>
                <c:pt idx="1964">
                  <c:v>1964</c:v>
                </c:pt>
                <c:pt idx="1965">
                  <c:v>1965</c:v>
                </c:pt>
                <c:pt idx="1966">
                  <c:v>1966</c:v>
                </c:pt>
                <c:pt idx="1967">
                  <c:v>1967</c:v>
                </c:pt>
                <c:pt idx="1968">
                  <c:v>1968</c:v>
                </c:pt>
                <c:pt idx="1969">
                  <c:v>1969</c:v>
                </c:pt>
                <c:pt idx="1970">
                  <c:v>1970</c:v>
                </c:pt>
                <c:pt idx="1971">
                  <c:v>1971</c:v>
                </c:pt>
                <c:pt idx="1972">
                  <c:v>1972</c:v>
                </c:pt>
                <c:pt idx="1973">
                  <c:v>1973</c:v>
                </c:pt>
                <c:pt idx="1974">
                  <c:v>1974</c:v>
                </c:pt>
                <c:pt idx="1975">
                  <c:v>1975</c:v>
                </c:pt>
                <c:pt idx="1976">
                  <c:v>1976</c:v>
                </c:pt>
                <c:pt idx="1977">
                  <c:v>1977</c:v>
                </c:pt>
                <c:pt idx="1978">
                  <c:v>1978</c:v>
                </c:pt>
                <c:pt idx="1979">
                  <c:v>1979</c:v>
                </c:pt>
                <c:pt idx="1980">
                  <c:v>1980</c:v>
                </c:pt>
                <c:pt idx="1981">
                  <c:v>1981</c:v>
                </c:pt>
                <c:pt idx="1982">
                  <c:v>1982</c:v>
                </c:pt>
                <c:pt idx="1983">
                  <c:v>1983</c:v>
                </c:pt>
                <c:pt idx="1984">
                  <c:v>1984</c:v>
                </c:pt>
                <c:pt idx="1985">
                  <c:v>1985</c:v>
                </c:pt>
                <c:pt idx="1986">
                  <c:v>1986</c:v>
                </c:pt>
                <c:pt idx="1987">
                  <c:v>1987</c:v>
                </c:pt>
                <c:pt idx="1988">
                  <c:v>1988</c:v>
                </c:pt>
                <c:pt idx="1989">
                  <c:v>1989</c:v>
                </c:pt>
                <c:pt idx="1990">
                  <c:v>1990</c:v>
                </c:pt>
                <c:pt idx="1991">
                  <c:v>1991</c:v>
                </c:pt>
                <c:pt idx="1992">
                  <c:v>1992</c:v>
                </c:pt>
                <c:pt idx="1993">
                  <c:v>1993</c:v>
                </c:pt>
                <c:pt idx="1994">
                  <c:v>1994</c:v>
                </c:pt>
                <c:pt idx="1995">
                  <c:v>1995</c:v>
                </c:pt>
                <c:pt idx="1996">
                  <c:v>1996</c:v>
                </c:pt>
                <c:pt idx="1997">
                  <c:v>1997</c:v>
                </c:pt>
                <c:pt idx="1998">
                  <c:v>1998</c:v>
                </c:pt>
                <c:pt idx="1999">
                  <c:v>1999</c:v>
                </c:pt>
                <c:pt idx="2000">
                  <c:v>2000</c:v>
                </c:pt>
                <c:pt idx="2001">
                  <c:v>2001</c:v>
                </c:pt>
                <c:pt idx="2002">
                  <c:v>2002</c:v>
                </c:pt>
                <c:pt idx="2003">
                  <c:v>2003</c:v>
                </c:pt>
                <c:pt idx="2004">
                  <c:v>2004</c:v>
                </c:pt>
                <c:pt idx="2005">
                  <c:v>2005</c:v>
                </c:pt>
                <c:pt idx="2006">
                  <c:v>2006</c:v>
                </c:pt>
                <c:pt idx="2007">
                  <c:v>2007</c:v>
                </c:pt>
                <c:pt idx="2008">
                  <c:v>2008</c:v>
                </c:pt>
                <c:pt idx="2009">
                  <c:v>2009</c:v>
                </c:pt>
                <c:pt idx="2010">
                  <c:v>2010</c:v>
                </c:pt>
                <c:pt idx="2011">
                  <c:v>2011</c:v>
                </c:pt>
                <c:pt idx="2012">
                  <c:v>2012</c:v>
                </c:pt>
                <c:pt idx="2013">
                  <c:v>2013</c:v>
                </c:pt>
                <c:pt idx="2014">
                  <c:v>2014</c:v>
                </c:pt>
                <c:pt idx="2015">
                  <c:v>2015</c:v>
                </c:pt>
                <c:pt idx="2016">
                  <c:v>2016</c:v>
                </c:pt>
                <c:pt idx="2017">
                  <c:v>2017</c:v>
                </c:pt>
                <c:pt idx="2018">
                  <c:v>2018</c:v>
                </c:pt>
                <c:pt idx="2019">
                  <c:v>2019</c:v>
                </c:pt>
                <c:pt idx="2020">
                  <c:v>2020</c:v>
                </c:pt>
                <c:pt idx="2021">
                  <c:v>2021</c:v>
                </c:pt>
                <c:pt idx="2022">
                  <c:v>2022</c:v>
                </c:pt>
                <c:pt idx="2023">
                  <c:v>2023</c:v>
                </c:pt>
                <c:pt idx="2024">
                  <c:v>2024</c:v>
                </c:pt>
                <c:pt idx="2025">
                  <c:v>2025</c:v>
                </c:pt>
                <c:pt idx="2026">
                  <c:v>2026</c:v>
                </c:pt>
                <c:pt idx="2027">
                  <c:v>2027</c:v>
                </c:pt>
                <c:pt idx="2028">
                  <c:v>2028</c:v>
                </c:pt>
                <c:pt idx="2029">
                  <c:v>2029</c:v>
                </c:pt>
                <c:pt idx="2030">
                  <c:v>2030</c:v>
                </c:pt>
                <c:pt idx="2031">
                  <c:v>2031</c:v>
                </c:pt>
                <c:pt idx="2032">
                  <c:v>2032</c:v>
                </c:pt>
                <c:pt idx="2033">
                  <c:v>2033</c:v>
                </c:pt>
                <c:pt idx="2034">
                  <c:v>2034</c:v>
                </c:pt>
                <c:pt idx="2035">
                  <c:v>2035</c:v>
                </c:pt>
                <c:pt idx="2036">
                  <c:v>2036</c:v>
                </c:pt>
                <c:pt idx="2037">
                  <c:v>2037</c:v>
                </c:pt>
                <c:pt idx="2038">
                  <c:v>2038</c:v>
                </c:pt>
                <c:pt idx="2039">
                  <c:v>2039</c:v>
                </c:pt>
                <c:pt idx="2040">
                  <c:v>2040</c:v>
                </c:pt>
                <c:pt idx="2041">
                  <c:v>2041</c:v>
                </c:pt>
                <c:pt idx="2042">
                  <c:v>2042</c:v>
                </c:pt>
                <c:pt idx="2043">
                  <c:v>2043</c:v>
                </c:pt>
                <c:pt idx="2044">
                  <c:v>2044</c:v>
                </c:pt>
                <c:pt idx="2045">
                  <c:v>2045</c:v>
                </c:pt>
                <c:pt idx="2046">
                  <c:v>2046</c:v>
                </c:pt>
                <c:pt idx="2047">
                  <c:v>2047</c:v>
                </c:pt>
                <c:pt idx="2048">
                  <c:v>2048</c:v>
                </c:pt>
                <c:pt idx="2049">
                  <c:v>2049</c:v>
                </c:pt>
                <c:pt idx="2050">
                  <c:v>2050</c:v>
                </c:pt>
                <c:pt idx="2051">
                  <c:v>2051</c:v>
                </c:pt>
                <c:pt idx="2052">
                  <c:v>2052</c:v>
                </c:pt>
                <c:pt idx="2053">
                  <c:v>2053</c:v>
                </c:pt>
                <c:pt idx="2054">
                  <c:v>2054</c:v>
                </c:pt>
                <c:pt idx="2055">
                  <c:v>2055</c:v>
                </c:pt>
                <c:pt idx="2056">
                  <c:v>2056</c:v>
                </c:pt>
                <c:pt idx="2057">
                  <c:v>2057</c:v>
                </c:pt>
                <c:pt idx="2058">
                  <c:v>2058</c:v>
                </c:pt>
                <c:pt idx="2059">
                  <c:v>2059</c:v>
                </c:pt>
                <c:pt idx="2060">
                  <c:v>2060</c:v>
                </c:pt>
                <c:pt idx="2061">
                  <c:v>2061</c:v>
                </c:pt>
                <c:pt idx="2062">
                  <c:v>2062</c:v>
                </c:pt>
                <c:pt idx="2063">
                  <c:v>2063</c:v>
                </c:pt>
                <c:pt idx="2064">
                  <c:v>2064</c:v>
                </c:pt>
                <c:pt idx="2065">
                  <c:v>2065</c:v>
                </c:pt>
                <c:pt idx="2066">
                  <c:v>2066</c:v>
                </c:pt>
                <c:pt idx="2067">
                  <c:v>2067</c:v>
                </c:pt>
                <c:pt idx="2068">
                  <c:v>2068</c:v>
                </c:pt>
                <c:pt idx="2069">
                  <c:v>2069</c:v>
                </c:pt>
                <c:pt idx="2070">
                  <c:v>2070</c:v>
                </c:pt>
                <c:pt idx="2071">
                  <c:v>2071</c:v>
                </c:pt>
                <c:pt idx="2072">
                  <c:v>2072</c:v>
                </c:pt>
                <c:pt idx="2073">
                  <c:v>2073</c:v>
                </c:pt>
                <c:pt idx="2074">
                  <c:v>2074</c:v>
                </c:pt>
                <c:pt idx="2075">
                  <c:v>2075</c:v>
                </c:pt>
                <c:pt idx="2076">
                  <c:v>2076</c:v>
                </c:pt>
                <c:pt idx="2077">
                  <c:v>2077</c:v>
                </c:pt>
                <c:pt idx="2078">
                  <c:v>2078</c:v>
                </c:pt>
                <c:pt idx="2079">
                  <c:v>2079</c:v>
                </c:pt>
                <c:pt idx="2080">
                  <c:v>2080</c:v>
                </c:pt>
                <c:pt idx="2081">
                  <c:v>2081</c:v>
                </c:pt>
                <c:pt idx="2082">
                  <c:v>2082</c:v>
                </c:pt>
                <c:pt idx="2083">
                  <c:v>2083</c:v>
                </c:pt>
                <c:pt idx="2084">
                  <c:v>2084</c:v>
                </c:pt>
                <c:pt idx="2085">
                  <c:v>2085</c:v>
                </c:pt>
                <c:pt idx="2086">
                  <c:v>2086</c:v>
                </c:pt>
                <c:pt idx="2087">
                  <c:v>2087</c:v>
                </c:pt>
                <c:pt idx="2088">
                  <c:v>2088</c:v>
                </c:pt>
                <c:pt idx="2089">
                  <c:v>2089</c:v>
                </c:pt>
                <c:pt idx="2090">
                  <c:v>2090</c:v>
                </c:pt>
                <c:pt idx="2091">
                  <c:v>2091</c:v>
                </c:pt>
                <c:pt idx="2092">
                  <c:v>2092</c:v>
                </c:pt>
                <c:pt idx="2093">
                  <c:v>2093</c:v>
                </c:pt>
                <c:pt idx="2094">
                  <c:v>2094</c:v>
                </c:pt>
                <c:pt idx="2095">
                  <c:v>2095</c:v>
                </c:pt>
                <c:pt idx="2096">
                  <c:v>2096</c:v>
                </c:pt>
                <c:pt idx="2097">
                  <c:v>2097</c:v>
                </c:pt>
                <c:pt idx="2098">
                  <c:v>2098</c:v>
                </c:pt>
                <c:pt idx="2099">
                  <c:v>2099</c:v>
                </c:pt>
                <c:pt idx="2100">
                  <c:v>2100</c:v>
                </c:pt>
                <c:pt idx="2101">
                  <c:v>2101</c:v>
                </c:pt>
                <c:pt idx="2102">
                  <c:v>2102</c:v>
                </c:pt>
                <c:pt idx="2103">
                  <c:v>2103</c:v>
                </c:pt>
                <c:pt idx="2104">
                  <c:v>2104</c:v>
                </c:pt>
                <c:pt idx="2105">
                  <c:v>2105</c:v>
                </c:pt>
                <c:pt idx="2106">
                  <c:v>2106</c:v>
                </c:pt>
                <c:pt idx="2107">
                  <c:v>2107</c:v>
                </c:pt>
                <c:pt idx="2108">
                  <c:v>2108</c:v>
                </c:pt>
                <c:pt idx="2109">
                  <c:v>2109</c:v>
                </c:pt>
                <c:pt idx="2110">
                  <c:v>2110</c:v>
                </c:pt>
                <c:pt idx="2111">
                  <c:v>2111</c:v>
                </c:pt>
                <c:pt idx="2112">
                  <c:v>2112</c:v>
                </c:pt>
                <c:pt idx="2113">
                  <c:v>2113</c:v>
                </c:pt>
                <c:pt idx="2114">
                  <c:v>2114</c:v>
                </c:pt>
                <c:pt idx="2115">
                  <c:v>2115</c:v>
                </c:pt>
                <c:pt idx="2116">
                  <c:v>2116</c:v>
                </c:pt>
                <c:pt idx="2117">
                  <c:v>2117</c:v>
                </c:pt>
                <c:pt idx="2118">
                  <c:v>2118</c:v>
                </c:pt>
                <c:pt idx="2119">
                  <c:v>2119</c:v>
                </c:pt>
                <c:pt idx="2120">
                  <c:v>2120</c:v>
                </c:pt>
                <c:pt idx="2121">
                  <c:v>2121</c:v>
                </c:pt>
                <c:pt idx="2122">
                  <c:v>2122</c:v>
                </c:pt>
                <c:pt idx="2123">
                  <c:v>2123</c:v>
                </c:pt>
                <c:pt idx="2124">
                  <c:v>2124</c:v>
                </c:pt>
                <c:pt idx="2125">
                  <c:v>2125</c:v>
                </c:pt>
                <c:pt idx="2126">
                  <c:v>2126</c:v>
                </c:pt>
                <c:pt idx="2127">
                  <c:v>2127</c:v>
                </c:pt>
                <c:pt idx="2128">
                  <c:v>2128</c:v>
                </c:pt>
                <c:pt idx="2129">
                  <c:v>2129</c:v>
                </c:pt>
                <c:pt idx="2130">
                  <c:v>2130</c:v>
                </c:pt>
                <c:pt idx="2131">
                  <c:v>2131</c:v>
                </c:pt>
                <c:pt idx="2132">
                  <c:v>2132</c:v>
                </c:pt>
                <c:pt idx="2133">
                  <c:v>2133</c:v>
                </c:pt>
                <c:pt idx="2134">
                  <c:v>2134</c:v>
                </c:pt>
                <c:pt idx="2135">
                  <c:v>2135</c:v>
                </c:pt>
                <c:pt idx="2136">
                  <c:v>2136</c:v>
                </c:pt>
                <c:pt idx="2137">
                  <c:v>2137</c:v>
                </c:pt>
                <c:pt idx="2138">
                  <c:v>2138</c:v>
                </c:pt>
                <c:pt idx="2139">
                  <c:v>2139</c:v>
                </c:pt>
                <c:pt idx="2140">
                  <c:v>2140</c:v>
                </c:pt>
                <c:pt idx="2141">
                  <c:v>2141</c:v>
                </c:pt>
                <c:pt idx="2142">
                  <c:v>2142</c:v>
                </c:pt>
                <c:pt idx="2143">
                  <c:v>2143</c:v>
                </c:pt>
                <c:pt idx="2144">
                  <c:v>2144</c:v>
                </c:pt>
                <c:pt idx="2145">
                  <c:v>2145</c:v>
                </c:pt>
                <c:pt idx="2146">
                  <c:v>2146</c:v>
                </c:pt>
                <c:pt idx="2147">
                  <c:v>2147</c:v>
                </c:pt>
                <c:pt idx="2148">
                  <c:v>2148</c:v>
                </c:pt>
                <c:pt idx="2149">
                  <c:v>2149</c:v>
                </c:pt>
                <c:pt idx="2150">
                  <c:v>2150</c:v>
                </c:pt>
                <c:pt idx="2151">
                  <c:v>2151</c:v>
                </c:pt>
                <c:pt idx="2152">
                  <c:v>2152</c:v>
                </c:pt>
                <c:pt idx="2153">
                  <c:v>2153</c:v>
                </c:pt>
                <c:pt idx="2154">
                  <c:v>2154</c:v>
                </c:pt>
                <c:pt idx="2155">
                  <c:v>2155</c:v>
                </c:pt>
                <c:pt idx="2156">
                  <c:v>2156</c:v>
                </c:pt>
                <c:pt idx="2157">
                  <c:v>2157</c:v>
                </c:pt>
                <c:pt idx="2158">
                  <c:v>2158</c:v>
                </c:pt>
                <c:pt idx="2159">
                  <c:v>2159</c:v>
                </c:pt>
                <c:pt idx="2160">
                  <c:v>2160</c:v>
                </c:pt>
                <c:pt idx="2161">
                  <c:v>2161</c:v>
                </c:pt>
                <c:pt idx="2162">
                  <c:v>2162</c:v>
                </c:pt>
                <c:pt idx="2163">
                  <c:v>2163</c:v>
                </c:pt>
                <c:pt idx="2164">
                  <c:v>2164</c:v>
                </c:pt>
                <c:pt idx="2165">
                  <c:v>2165</c:v>
                </c:pt>
                <c:pt idx="2166">
                  <c:v>2166</c:v>
                </c:pt>
                <c:pt idx="2167">
                  <c:v>2167</c:v>
                </c:pt>
                <c:pt idx="2168">
                  <c:v>2168</c:v>
                </c:pt>
                <c:pt idx="2169">
                  <c:v>2169</c:v>
                </c:pt>
                <c:pt idx="2170">
                  <c:v>2170</c:v>
                </c:pt>
                <c:pt idx="2171">
                  <c:v>2171</c:v>
                </c:pt>
                <c:pt idx="2172">
                  <c:v>2172</c:v>
                </c:pt>
                <c:pt idx="2173">
                  <c:v>2173</c:v>
                </c:pt>
                <c:pt idx="2174">
                  <c:v>2174</c:v>
                </c:pt>
                <c:pt idx="2175">
                  <c:v>2175</c:v>
                </c:pt>
                <c:pt idx="2176">
                  <c:v>2176</c:v>
                </c:pt>
                <c:pt idx="2177">
                  <c:v>2177</c:v>
                </c:pt>
                <c:pt idx="2178">
                  <c:v>2178</c:v>
                </c:pt>
                <c:pt idx="2179">
                  <c:v>2179</c:v>
                </c:pt>
                <c:pt idx="2180">
                  <c:v>2180</c:v>
                </c:pt>
                <c:pt idx="2181">
                  <c:v>2181</c:v>
                </c:pt>
                <c:pt idx="2182">
                  <c:v>2182</c:v>
                </c:pt>
                <c:pt idx="2183">
                  <c:v>2183</c:v>
                </c:pt>
                <c:pt idx="2184">
                  <c:v>2184</c:v>
                </c:pt>
                <c:pt idx="2185">
                  <c:v>2185</c:v>
                </c:pt>
                <c:pt idx="2186">
                  <c:v>2186</c:v>
                </c:pt>
                <c:pt idx="2187">
                  <c:v>2187</c:v>
                </c:pt>
                <c:pt idx="2188">
                  <c:v>2188</c:v>
                </c:pt>
                <c:pt idx="2189">
                  <c:v>2189</c:v>
                </c:pt>
                <c:pt idx="2190">
                  <c:v>2190</c:v>
                </c:pt>
                <c:pt idx="2191">
                  <c:v>2191</c:v>
                </c:pt>
                <c:pt idx="2192">
                  <c:v>2192</c:v>
                </c:pt>
                <c:pt idx="2193">
                  <c:v>2193</c:v>
                </c:pt>
                <c:pt idx="2194">
                  <c:v>2194</c:v>
                </c:pt>
                <c:pt idx="2195">
                  <c:v>2195</c:v>
                </c:pt>
                <c:pt idx="2196">
                  <c:v>2196</c:v>
                </c:pt>
                <c:pt idx="2197">
                  <c:v>2197</c:v>
                </c:pt>
                <c:pt idx="2198">
                  <c:v>2198</c:v>
                </c:pt>
                <c:pt idx="2199">
                  <c:v>2199</c:v>
                </c:pt>
                <c:pt idx="2200">
                  <c:v>2200</c:v>
                </c:pt>
                <c:pt idx="2201">
                  <c:v>2201</c:v>
                </c:pt>
                <c:pt idx="2202">
                  <c:v>2202</c:v>
                </c:pt>
                <c:pt idx="2203">
                  <c:v>2203</c:v>
                </c:pt>
                <c:pt idx="2204">
                  <c:v>2204</c:v>
                </c:pt>
                <c:pt idx="2205">
                  <c:v>2205</c:v>
                </c:pt>
                <c:pt idx="2206">
                  <c:v>2206</c:v>
                </c:pt>
                <c:pt idx="2207">
                  <c:v>2207</c:v>
                </c:pt>
                <c:pt idx="2208">
                  <c:v>2208</c:v>
                </c:pt>
                <c:pt idx="2209">
                  <c:v>2209</c:v>
                </c:pt>
                <c:pt idx="2210">
                  <c:v>2210</c:v>
                </c:pt>
                <c:pt idx="2211">
                  <c:v>2211</c:v>
                </c:pt>
                <c:pt idx="2212">
                  <c:v>2212</c:v>
                </c:pt>
                <c:pt idx="2213">
                  <c:v>2213</c:v>
                </c:pt>
                <c:pt idx="2214">
                  <c:v>2214</c:v>
                </c:pt>
                <c:pt idx="2215">
                  <c:v>2215</c:v>
                </c:pt>
                <c:pt idx="2216">
                  <c:v>2216</c:v>
                </c:pt>
                <c:pt idx="2217">
                  <c:v>2217</c:v>
                </c:pt>
                <c:pt idx="2218">
                  <c:v>2218</c:v>
                </c:pt>
                <c:pt idx="2219">
                  <c:v>2219</c:v>
                </c:pt>
                <c:pt idx="2220">
                  <c:v>2220</c:v>
                </c:pt>
                <c:pt idx="2221">
                  <c:v>2221</c:v>
                </c:pt>
                <c:pt idx="2222">
                  <c:v>2222</c:v>
                </c:pt>
                <c:pt idx="2223">
                  <c:v>2223</c:v>
                </c:pt>
                <c:pt idx="2224">
                  <c:v>2224</c:v>
                </c:pt>
                <c:pt idx="2225">
                  <c:v>2225</c:v>
                </c:pt>
                <c:pt idx="2226">
                  <c:v>2226</c:v>
                </c:pt>
                <c:pt idx="2227">
                  <c:v>2227</c:v>
                </c:pt>
                <c:pt idx="2228">
                  <c:v>2228</c:v>
                </c:pt>
                <c:pt idx="2229">
                  <c:v>2229</c:v>
                </c:pt>
                <c:pt idx="2230">
                  <c:v>2230</c:v>
                </c:pt>
                <c:pt idx="2231">
                  <c:v>2231</c:v>
                </c:pt>
                <c:pt idx="2232">
                  <c:v>2232</c:v>
                </c:pt>
                <c:pt idx="2233">
                  <c:v>2233</c:v>
                </c:pt>
                <c:pt idx="2234">
                  <c:v>2234</c:v>
                </c:pt>
                <c:pt idx="2235">
                  <c:v>2235</c:v>
                </c:pt>
                <c:pt idx="2236">
                  <c:v>2236</c:v>
                </c:pt>
                <c:pt idx="2237">
                  <c:v>2237</c:v>
                </c:pt>
                <c:pt idx="2238">
                  <c:v>2238</c:v>
                </c:pt>
                <c:pt idx="2239">
                  <c:v>2239</c:v>
                </c:pt>
                <c:pt idx="2240">
                  <c:v>2240</c:v>
                </c:pt>
                <c:pt idx="2241">
                  <c:v>2241</c:v>
                </c:pt>
                <c:pt idx="2242">
                  <c:v>2242</c:v>
                </c:pt>
                <c:pt idx="2243">
                  <c:v>2243</c:v>
                </c:pt>
                <c:pt idx="2244">
                  <c:v>2244</c:v>
                </c:pt>
                <c:pt idx="2245">
                  <c:v>2245</c:v>
                </c:pt>
                <c:pt idx="2246">
                  <c:v>2246</c:v>
                </c:pt>
                <c:pt idx="2247">
                  <c:v>2247</c:v>
                </c:pt>
                <c:pt idx="2248">
                  <c:v>2248</c:v>
                </c:pt>
                <c:pt idx="2249">
                  <c:v>2249</c:v>
                </c:pt>
                <c:pt idx="2250">
                  <c:v>2250</c:v>
                </c:pt>
                <c:pt idx="2251">
                  <c:v>2251</c:v>
                </c:pt>
                <c:pt idx="2252">
                  <c:v>2252</c:v>
                </c:pt>
                <c:pt idx="2253">
                  <c:v>2253</c:v>
                </c:pt>
                <c:pt idx="2254">
                  <c:v>2254</c:v>
                </c:pt>
                <c:pt idx="2255">
                  <c:v>2255</c:v>
                </c:pt>
                <c:pt idx="2256">
                  <c:v>2256</c:v>
                </c:pt>
                <c:pt idx="2257">
                  <c:v>2257</c:v>
                </c:pt>
                <c:pt idx="2258">
                  <c:v>2258</c:v>
                </c:pt>
                <c:pt idx="2259">
                  <c:v>2259</c:v>
                </c:pt>
                <c:pt idx="2260">
                  <c:v>2260</c:v>
                </c:pt>
                <c:pt idx="2261">
                  <c:v>2261</c:v>
                </c:pt>
                <c:pt idx="2262">
                  <c:v>2262</c:v>
                </c:pt>
                <c:pt idx="2263">
                  <c:v>2263</c:v>
                </c:pt>
                <c:pt idx="2264">
                  <c:v>2264</c:v>
                </c:pt>
                <c:pt idx="2265">
                  <c:v>2265</c:v>
                </c:pt>
                <c:pt idx="2266">
                  <c:v>2266</c:v>
                </c:pt>
                <c:pt idx="2267">
                  <c:v>2267</c:v>
                </c:pt>
                <c:pt idx="2268">
                  <c:v>2268</c:v>
                </c:pt>
                <c:pt idx="2269">
                  <c:v>2269</c:v>
                </c:pt>
                <c:pt idx="2270">
                  <c:v>2270</c:v>
                </c:pt>
                <c:pt idx="2271">
                  <c:v>2271</c:v>
                </c:pt>
                <c:pt idx="2272">
                  <c:v>2272</c:v>
                </c:pt>
                <c:pt idx="2273">
                  <c:v>2273</c:v>
                </c:pt>
                <c:pt idx="2274">
                  <c:v>2274</c:v>
                </c:pt>
                <c:pt idx="2275">
                  <c:v>2275</c:v>
                </c:pt>
                <c:pt idx="2276">
                  <c:v>2276</c:v>
                </c:pt>
                <c:pt idx="2277">
                  <c:v>2277</c:v>
                </c:pt>
                <c:pt idx="2278">
                  <c:v>2278</c:v>
                </c:pt>
                <c:pt idx="2279">
                  <c:v>2279</c:v>
                </c:pt>
                <c:pt idx="2280">
                  <c:v>2280</c:v>
                </c:pt>
                <c:pt idx="2281">
                  <c:v>2281</c:v>
                </c:pt>
                <c:pt idx="2282">
                  <c:v>2282</c:v>
                </c:pt>
                <c:pt idx="2283">
                  <c:v>2283</c:v>
                </c:pt>
                <c:pt idx="2284">
                  <c:v>2284</c:v>
                </c:pt>
                <c:pt idx="2285">
                  <c:v>2285</c:v>
                </c:pt>
                <c:pt idx="2286">
                  <c:v>2286</c:v>
                </c:pt>
                <c:pt idx="2287">
                  <c:v>2287</c:v>
                </c:pt>
                <c:pt idx="2288">
                  <c:v>2288</c:v>
                </c:pt>
                <c:pt idx="2289">
                  <c:v>2289</c:v>
                </c:pt>
                <c:pt idx="2290">
                  <c:v>2290</c:v>
                </c:pt>
                <c:pt idx="2291">
                  <c:v>2291</c:v>
                </c:pt>
                <c:pt idx="2292">
                  <c:v>2292</c:v>
                </c:pt>
                <c:pt idx="2293">
                  <c:v>2293</c:v>
                </c:pt>
                <c:pt idx="2294">
                  <c:v>2294</c:v>
                </c:pt>
                <c:pt idx="2295">
                  <c:v>2295</c:v>
                </c:pt>
                <c:pt idx="2296">
                  <c:v>2296</c:v>
                </c:pt>
                <c:pt idx="2297">
                  <c:v>2297</c:v>
                </c:pt>
                <c:pt idx="2298">
                  <c:v>2298</c:v>
                </c:pt>
                <c:pt idx="2299">
                  <c:v>2299</c:v>
                </c:pt>
                <c:pt idx="2300">
                  <c:v>2300</c:v>
                </c:pt>
                <c:pt idx="2301">
                  <c:v>2301</c:v>
                </c:pt>
                <c:pt idx="2302">
                  <c:v>2302</c:v>
                </c:pt>
                <c:pt idx="2303">
                  <c:v>2303</c:v>
                </c:pt>
                <c:pt idx="2304">
                  <c:v>2304</c:v>
                </c:pt>
                <c:pt idx="2305">
                  <c:v>2305</c:v>
                </c:pt>
                <c:pt idx="2306">
                  <c:v>2306</c:v>
                </c:pt>
                <c:pt idx="2307">
                  <c:v>2307</c:v>
                </c:pt>
                <c:pt idx="2308">
                  <c:v>2308</c:v>
                </c:pt>
                <c:pt idx="2309">
                  <c:v>2309</c:v>
                </c:pt>
                <c:pt idx="2310">
                  <c:v>2310</c:v>
                </c:pt>
                <c:pt idx="2311">
                  <c:v>2311</c:v>
                </c:pt>
                <c:pt idx="2312">
                  <c:v>2312</c:v>
                </c:pt>
                <c:pt idx="2313">
                  <c:v>2313</c:v>
                </c:pt>
                <c:pt idx="2314">
                  <c:v>2314</c:v>
                </c:pt>
                <c:pt idx="2315">
                  <c:v>2315</c:v>
                </c:pt>
                <c:pt idx="2316">
                  <c:v>2316</c:v>
                </c:pt>
                <c:pt idx="2317">
                  <c:v>2317</c:v>
                </c:pt>
                <c:pt idx="2318">
                  <c:v>2318</c:v>
                </c:pt>
                <c:pt idx="2319">
                  <c:v>2319</c:v>
                </c:pt>
                <c:pt idx="2320">
                  <c:v>2320</c:v>
                </c:pt>
                <c:pt idx="2321">
                  <c:v>2321</c:v>
                </c:pt>
                <c:pt idx="2322">
                  <c:v>2322</c:v>
                </c:pt>
                <c:pt idx="2323">
                  <c:v>2323</c:v>
                </c:pt>
                <c:pt idx="2324">
                  <c:v>2324</c:v>
                </c:pt>
                <c:pt idx="2325">
                  <c:v>2325</c:v>
                </c:pt>
                <c:pt idx="2326">
                  <c:v>2326</c:v>
                </c:pt>
                <c:pt idx="2327">
                  <c:v>2327</c:v>
                </c:pt>
                <c:pt idx="2328">
                  <c:v>2328</c:v>
                </c:pt>
                <c:pt idx="2329">
                  <c:v>2329</c:v>
                </c:pt>
                <c:pt idx="2330">
                  <c:v>2330</c:v>
                </c:pt>
                <c:pt idx="2331">
                  <c:v>2331</c:v>
                </c:pt>
                <c:pt idx="2332">
                  <c:v>2332</c:v>
                </c:pt>
                <c:pt idx="2333">
                  <c:v>2333</c:v>
                </c:pt>
                <c:pt idx="2334">
                  <c:v>2334</c:v>
                </c:pt>
                <c:pt idx="2335">
                  <c:v>2335</c:v>
                </c:pt>
                <c:pt idx="2336">
                  <c:v>2336</c:v>
                </c:pt>
                <c:pt idx="2337">
                  <c:v>2337</c:v>
                </c:pt>
                <c:pt idx="2338">
                  <c:v>2338</c:v>
                </c:pt>
                <c:pt idx="2339">
                  <c:v>2339</c:v>
                </c:pt>
                <c:pt idx="2340">
                  <c:v>2340</c:v>
                </c:pt>
                <c:pt idx="2341">
                  <c:v>2341</c:v>
                </c:pt>
                <c:pt idx="2342">
                  <c:v>2342</c:v>
                </c:pt>
                <c:pt idx="2343">
                  <c:v>2343</c:v>
                </c:pt>
                <c:pt idx="2344">
                  <c:v>2344</c:v>
                </c:pt>
                <c:pt idx="2345">
                  <c:v>2345</c:v>
                </c:pt>
                <c:pt idx="2346">
                  <c:v>2346</c:v>
                </c:pt>
                <c:pt idx="2347">
                  <c:v>2347</c:v>
                </c:pt>
                <c:pt idx="2348">
                  <c:v>2348</c:v>
                </c:pt>
                <c:pt idx="2349">
                  <c:v>2349</c:v>
                </c:pt>
                <c:pt idx="2350">
                  <c:v>2350</c:v>
                </c:pt>
                <c:pt idx="2351">
                  <c:v>2351</c:v>
                </c:pt>
                <c:pt idx="2352">
                  <c:v>2352</c:v>
                </c:pt>
                <c:pt idx="2353">
                  <c:v>2353</c:v>
                </c:pt>
                <c:pt idx="2354">
                  <c:v>2354</c:v>
                </c:pt>
                <c:pt idx="2355">
                  <c:v>2355</c:v>
                </c:pt>
                <c:pt idx="2356">
                  <c:v>2356</c:v>
                </c:pt>
                <c:pt idx="2357">
                  <c:v>2357</c:v>
                </c:pt>
                <c:pt idx="2358">
                  <c:v>2358</c:v>
                </c:pt>
                <c:pt idx="2359">
                  <c:v>2359</c:v>
                </c:pt>
                <c:pt idx="2360">
                  <c:v>2360</c:v>
                </c:pt>
                <c:pt idx="2361">
                  <c:v>2361</c:v>
                </c:pt>
                <c:pt idx="2362">
                  <c:v>2362</c:v>
                </c:pt>
                <c:pt idx="2363">
                  <c:v>2363</c:v>
                </c:pt>
                <c:pt idx="2364">
                  <c:v>2364</c:v>
                </c:pt>
                <c:pt idx="2365">
                  <c:v>2365</c:v>
                </c:pt>
                <c:pt idx="2366">
                  <c:v>2366</c:v>
                </c:pt>
                <c:pt idx="2367">
                  <c:v>2367</c:v>
                </c:pt>
                <c:pt idx="2368">
                  <c:v>2368</c:v>
                </c:pt>
                <c:pt idx="2369">
                  <c:v>2369</c:v>
                </c:pt>
                <c:pt idx="2370">
                  <c:v>2370</c:v>
                </c:pt>
                <c:pt idx="2371">
                  <c:v>2371</c:v>
                </c:pt>
                <c:pt idx="2372">
                  <c:v>2372</c:v>
                </c:pt>
                <c:pt idx="2373">
                  <c:v>2373</c:v>
                </c:pt>
                <c:pt idx="2374">
                  <c:v>2374</c:v>
                </c:pt>
                <c:pt idx="2375">
                  <c:v>2375</c:v>
                </c:pt>
                <c:pt idx="2376">
                  <c:v>2376</c:v>
                </c:pt>
                <c:pt idx="2377">
                  <c:v>2377</c:v>
                </c:pt>
                <c:pt idx="2378">
                  <c:v>2378</c:v>
                </c:pt>
                <c:pt idx="2379">
                  <c:v>2379</c:v>
                </c:pt>
                <c:pt idx="2380">
                  <c:v>2380</c:v>
                </c:pt>
                <c:pt idx="2381">
                  <c:v>2381</c:v>
                </c:pt>
                <c:pt idx="2382">
                  <c:v>2382</c:v>
                </c:pt>
                <c:pt idx="2383">
                  <c:v>2383</c:v>
                </c:pt>
                <c:pt idx="2384">
                  <c:v>2384</c:v>
                </c:pt>
                <c:pt idx="2385">
                  <c:v>2385</c:v>
                </c:pt>
                <c:pt idx="2386">
                  <c:v>2386</c:v>
                </c:pt>
                <c:pt idx="2387">
                  <c:v>2387</c:v>
                </c:pt>
                <c:pt idx="2388">
                  <c:v>2388</c:v>
                </c:pt>
                <c:pt idx="2389">
                  <c:v>2389</c:v>
                </c:pt>
                <c:pt idx="2390">
                  <c:v>2390</c:v>
                </c:pt>
                <c:pt idx="2391">
                  <c:v>2391</c:v>
                </c:pt>
                <c:pt idx="2392">
                  <c:v>2392</c:v>
                </c:pt>
                <c:pt idx="2393">
                  <c:v>2393</c:v>
                </c:pt>
                <c:pt idx="2394">
                  <c:v>2394</c:v>
                </c:pt>
                <c:pt idx="2395">
                  <c:v>2395</c:v>
                </c:pt>
                <c:pt idx="2396">
                  <c:v>2396</c:v>
                </c:pt>
                <c:pt idx="2397">
                  <c:v>2397</c:v>
                </c:pt>
                <c:pt idx="2398">
                  <c:v>2398</c:v>
                </c:pt>
                <c:pt idx="2399">
                  <c:v>2399</c:v>
                </c:pt>
                <c:pt idx="2400">
                  <c:v>2400</c:v>
                </c:pt>
              </c:numCache>
            </c:numRef>
          </c:cat>
          <c:val>
            <c:numRef>
              <c:f>'[Graphes_note_Evolutions_malus-1.xlsx]Données_graphe_MASSE'!$B$7:$B$2407</c:f>
              <c:numCache>
                <c:formatCode>_-* #\ ##0_-;\-* #\ ##0_-;_-* "-"??_-;_-@_-</c:formatCode>
                <c:ptCount val="240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0</c:v>
                </c:pt>
                <c:pt idx="1602">
                  <c:v>0</c:v>
                </c:pt>
                <c:pt idx="1603">
                  <c:v>0</c:v>
                </c:pt>
                <c:pt idx="1604">
                  <c:v>0</c:v>
                </c:pt>
                <c:pt idx="1605">
                  <c:v>0</c:v>
                </c:pt>
                <c:pt idx="1606">
                  <c:v>0</c:v>
                </c:pt>
                <c:pt idx="1607">
                  <c:v>0</c:v>
                </c:pt>
                <c:pt idx="1608">
                  <c:v>0</c:v>
                </c:pt>
                <c:pt idx="1609">
                  <c:v>0</c:v>
                </c:pt>
                <c:pt idx="1610">
                  <c:v>0</c:v>
                </c:pt>
                <c:pt idx="1611">
                  <c:v>0</c:v>
                </c:pt>
                <c:pt idx="1612">
                  <c:v>0</c:v>
                </c:pt>
                <c:pt idx="1613">
                  <c:v>0</c:v>
                </c:pt>
                <c:pt idx="1614">
                  <c:v>0</c:v>
                </c:pt>
                <c:pt idx="1615">
                  <c:v>0</c:v>
                </c:pt>
                <c:pt idx="1616">
                  <c:v>0</c:v>
                </c:pt>
                <c:pt idx="1617">
                  <c:v>0</c:v>
                </c:pt>
                <c:pt idx="1618">
                  <c:v>0</c:v>
                </c:pt>
                <c:pt idx="1619">
                  <c:v>0</c:v>
                </c:pt>
                <c:pt idx="1620">
                  <c:v>0</c:v>
                </c:pt>
                <c:pt idx="1621">
                  <c:v>0</c:v>
                </c:pt>
                <c:pt idx="1622">
                  <c:v>0</c:v>
                </c:pt>
                <c:pt idx="1623">
                  <c:v>0</c:v>
                </c:pt>
                <c:pt idx="1624">
                  <c:v>0</c:v>
                </c:pt>
                <c:pt idx="1625">
                  <c:v>0</c:v>
                </c:pt>
                <c:pt idx="1626">
                  <c:v>0</c:v>
                </c:pt>
                <c:pt idx="1627">
                  <c:v>0</c:v>
                </c:pt>
                <c:pt idx="1628">
                  <c:v>0</c:v>
                </c:pt>
                <c:pt idx="1629">
                  <c:v>0</c:v>
                </c:pt>
                <c:pt idx="1630">
                  <c:v>0</c:v>
                </c:pt>
                <c:pt idx="1631">
                  <c:v>0</c:v>
                </c:pt>
                <c:pt idx="1632">
                  <c:v>0</c:v>
                </c:pt>
                <c:pt idx="1633">
                  <c:v>0</c:v>
                </c:pt>
                <c:pt idx="1634">
                  <c:v>0</c:v>
                </c:pt>
                <c:pt idx="1635">
                  <c:v>0</c:v>
                </c:pt>
                <c:pt idx="1636">
                  <c:v>0</c:v>
                </c:pt>
                <c:pt idx="1637">
                  <c:v>0</c:v>
                </c:pt>
                <c:pt idx="1638">
                  <c:v>0</c:v>
                </c:pt>
                <c:pt idx="1639">
                  <c:v>0</c:v>
                </c:pt>
                <c:pt idx="1640">
                  <c:v>0</c:v>
                </c:pt>
                <c:pt idx="1641">
                  <c:v>0</c:v>
                </c:pt>
                <c:pt idx="1642">
                  <c:v>0</c:v>
                </c:pt>
                <c:pt idx="1643">
                  <c:v>0</c:v>
                </c:pt>
                <c:pt idx="1644">
                  <c:v>0</c:v>
                </c:pt>
                <c:pt idx="1645">
                  <c:v>0</c:v>
                </c:pt>
                <c:pt idx="1646">
                  <c:v>0</c:v>
                </c:pt>
                <c:pt idx="1647">
                  <c:v>0</c:v>
                </c:pt>
                <c:pt idx="1648">
                  <c:v>0</c:v>
                </c:pt>
                <c:pt idx="1649">
                  <c:v>0</c:v>
                </c:pt>
                <c:pt idx="1650">
                  <c:v>0</c:v>
                </c:pt>
                <c:pt idx="1651">
                  <c:v>0</c:v>
                </c:pt>
                <c:pt idx="1652">
                  <c:v>0</c:v>
                </c:pt>
                <c:pt idx="1653">
                  <c:v>0</c:v>
                </c:pt>
                <c:pt idx="1654">
                  <c:v>0</c:v>
                </c:pt>
                <c:pt idx="1655">
                  <c:v>0</c:v>
                </c:pt>
                <c:pt idx="1656">
                  <c:v>0</c:v>
                </c:pt>
                <c:pt idx="1657">
                  <c:v>0</c:v>
                </c:pt>
                <c:pt idx="1658">
                  <c:v>0</c:v>
                </c:pt>
                <c:pt idx="1659">
                  <c:v>0</c:v>
                </c:pt>
                <c:pt idx="1660">
                  <c:v>0</c:v>
                </c:pt>
                <c:pt idx="1661">
                  <c:v>0</c:v>
                </c:pt>
                <c:pt idx="1662">
                  <c:v>0</c:v>
                </c:pt>
                <c:pt idx="1663">
                  <c:v>0</c:v>
                </c:pt>
                <c:pt idx="1664">
                  <c:v>0</c:v>
                </c:pt>
                <c:pt idx="1665">
                  <c:v>0</c:v>
                </c:pt>
                <c:pt idx="1666">
                  <c:v>0</c:v>
                </c:pt>
                <c:pt idx="1667">
                  <c:v>0</c:v>
                </c:pt>
                <c:pt idx="1668">
                  <c:v>0</c:v>
                </c:pt>
                <c:pt idx="1669">
                  <c:v>0</c:v>
                </c:pt>
                <c:pt idx="1670">
                  <c:v>0</c:v>
                </c:pt>
                <c:pt idx="1671">
                  <c:v>0</c:v>
                </c:pt>
                <c:pt idx="1672">
                  <c:v>0</c:v>
                </c:pt>
                <c:pt idx="1673">
                  <c:v>0</c:v>
                </c:pt>
                <c:pt idx="1674">
                  <c:v>0</c:v>
                </c:pt>
                <c:pt idx="1675">
                  <c:v>0</c:v>
                </c:pt>
                <c:pt idx="1676">
                  <c:v>0</c:v>
                </c:pt>
                <c:pt idx="1677">
                  <c:v>0</c:v>
                </c:pt>
                <c:pt idx="1678">
                  <c:v>0</c:v>
                </c:pt>
                <c:pt idx="1679">
                  <c:v>0</c:v>
                </c:pt>
                <c:pt idx="1680">
                  <c:v>0</c:v>
                </c:pt>
                <c:pt idx="1681">
                  <c:v>0</c:v>
                </c:pt>
                <c:pt idx="1682">
                  <c:v>0</c:v>
                </c:pt>
                <c:pt idx="1683">
                  <c:v>0</c:v>
                </c:pt>
                <c:pt idx="1684">
                  <c:v>0</c:v>
                </c:pt>
                <c:pt idx="1685">
                  <c:v>0</c:v>
                </c:pt>
                <c:pt idx="1686">
                  <c:v>0</c:v>
                </c:pt>
                <c:pt idx="1687">
                  <c:v>0</c:v>
                </c:pt>
                <c:pt idx="1688">
                  <c:v>0</c:v>
                </c:pt>
                <c:pt idx="1689">
                  <c:v>0</c:v>
                </c:pt>
                <c:pt idx="1690">
                  <c:v>0</c:v>
                </c:pt>
                <c:pt idx="1691">
                  <c:v>0</c:v>
                </c:pt>
                <c:pt idx="1692">
                  <c:v>0</c:v>
                </c:pt>
                <c:pt idx="1693">
                  <c:v>0</c:v>
                </c:pt>
                <c:pt idx="1694">
                  <c:v>0</c:v>
                </c:pt>
                <c:pt idx="1695">
                  <c:v>0</c:v>
                </c:pt>
                <c:pt idx="1696">
                  <c:v>0</c:v>
                </c:pt>
                <c:pt idx="1697">
                  <c:v>0</c:v>
                </c:pt>
                <c:pt idx="1698">
                  <c:v>0</c:v>
                </c:pt>
                <c:pt idx="1699">
                  <c:v>0</c:v>
                </c:pt>
                <c:pt idx="1700">
                  <c:v>0</c:v>
                </c:pt>
                <c:pt idx="1701">
                  <c:v>0</c:v>
                </c:pt>
                <c:pt idx="1702">
                  <c:v>0</c:v>
                </c:pt>
                <c:pt idx="1703">
                  <c:v>0</c:v>
                </c:pt>
                <c:pt idx="1704">
                  <c:v>0</c:v>
                </c:pt>
                <c:pt idx="1705">
                  <c:v>0</c:v>
                </c:pt>
                <c:pt idx="1706">
                  <c:v>0</c:v>
                </c:pt>
                <c:pt idx="1707">
                  <c:v>0</c:v>
                </c:pt>
                <c:pt idx="1708">
                  <c:v>0</c:v>
                </c:pt>
                <c:pt idx="1709">
                  <c:v>0</c:v>
                </c:pt>
                <c:pt idx="1710">
                  <c:v>0</c:v>
                </c:pt>
                <c:pt idx="1711">
                  <c:v>0</c:v>
                </c:pt>
                <c:pt idx="1712">
                  <c:v>0</c:v>
                </c:pt>
                <c:pt idx="1713">
                  <c:v>0</c:v>
                </c:pt>
                <c:pt idx="1714">
                  <c:v>0</c:v>
                </c:pt>
                <c:pt idx="1715">
                  <c:v>0</c:v>
                </c:pt>
                <c:pt idx="1716">
                  <c:v>0</c:v>
                </c:pt>
                <c:pt idx="1717">
                  <c:v>0</c:v>
                </c:pt>
                <c:pt idx="1718">
                  <c:v>0</c:v>
                </c:pt>
                <c:pt idx="1719">
                  <c:v>0</c:v>
                </c:pt>
                <c:pt idx="1720">
                  <c:v>0</c:v>
                </c:pt>
                <c:pt idx="1721">
                  <c:v>0</c:v>
                </c:pt>
                <c:pt idx="1722">
                  <c:v>0</c:v>
                </c:pt>
                <c:pt idx="1723">
                  <c:v>0</c:v>
                </c:pt>
                <c:pt idx="1724">
                  <c:v>0</c:v>
                </c:pt>
                <c:pt idx="1725">
                  <c:v>0</c:v>
                </c:pt>
                <c:pt idx="1726">
                  <c:v>0</c:v>
                </c:pt>
                <c:pt idx="1727">
                  <c:v>0</c:v>
                </c:pt>
                <c:pt idx="1728">
                  <c:v>0</c:v>
                </c:pt>
                <c:pt idx="1729">
                  <c:v>0</c:v>
                </c:pt>
                <c:pt idx="1730">
                  <c:v>0</c:v>
                </c:pt>
                <c:pt idx="1731">
                  <c:v>0</c:v>
                </c:pt>
                <c:pt idx="1732">
                  <c:v>0</c:v>
                </c:pt>
                <c:pt idx="1733">
                  <c:v>0</c:v>
                </c:pt>
                <c:pt idx="1734">
                  <c:v>0</c:v>
                </c:pt>
                <c:pt idx="1735">
                  <c:v>0</c:v>
                </c:pt>
                <c:pt idx="1736">
                  <c:v>0</c:v>
                </c:pt>
                <c:pt idx="1737">
                  <c:v>0</c:v>
                </c:pt>
                <c:pt idx="1738">
                  <c:v>0</c:v>
                </c:pt>
                <c:pt idx="1739">
                  <c:v>0</c:v>
                </c:pt>
                <c:pt idx="1740">
                  <c:v>0</c:v>
                </c:pt>
                <c:pt idx="1741">
                  <c:v>0</c:v>
                </c:pt>
                <c:pt idx="1742">
                  <c:v>0</c:v>
                </c:pt>
                <c:pt idx="1743">
                  <c:v>0</c:v>
                </c:pt>
                <c:pt idx="1744">
                  <c:v>0</c:v>
                </c:pt>
                <c:pt idx="1745">
                  <c:v>0</c:v>
                </c:pt>
                <c:pt idx="1746">
                  <c:v>0</c:v>
                </c:pt>
                <c:pt idx="1747">
                  <c:v>0</c:v>
                </c:pt>
                <c:pt idx="1748">
                  <c:v>0</c:v>
                </c:pt>
                <c:pt idx="1749">
                  <c:v>0</c:v>
                </c:pt>
                <c:pt idx="1750">
                  <c:v>0</c:v>
                </c:pt>
                <c:pt idx="1751">
                  <c:v>0</c:v>
                </c:pt>
                <c:pt idx="1752">
                  <c:v>0</c:v>
                </c:pt>
                <c:pt idx="1753">
                  <c:v>0</c:v>
                </c:pt>
                <c:pt idx="1754">
                  <c:v>0</c:v>
                </c:pt>
                <c:pt idx="1755">
                  <c:v>0</c:v>
                </c:pt>
                <c:pt idx="1756">
                  <c:v>0</c:v>
                </c:pt>
                <c:pt idx="1757">
                  <c:v>0</c:v>
                </c:pt>
                <c:pt idx="1758">
                  <c:v>0</c:v>
                </c:pt>
                <c:pt idx="1759">
                  <c:v>0</c:v>
                </c:pt>
                <c:pt idx="1760">
                  <c:v>0</c:v>
                </c:pt>
                <c:pt idx="1761">
                  <c:v>0</c:v>
                </c:pt>
                <c:pt idx="1762">
                  <c:v>0</c:v>
                </c:pt>
                <c:pt idx="1763">
                  <c:v>0</c:v>
                </c:pt>
                <c:pt idx="1764">
                  <c:v>0</c:v>
                </c:pt>
                <c:pt idx="1765">
                  <c:v>0</c:v>
                </c:pt>
                <c:pt idx="1766">
                  <c:v>0</c:v>
                </c:pt>
                <c:pt idx="1767">
                  <c:v>0</c:v>
                </c:pt>
                <c:pt idx="1768">
                  <c:v>0</c:v>
                </c:pt>
                <c:pt idx="1769">
                  <c:v>0</c:v>
                </c:pt>
                <c:pt idx="1770">
                  <c:v>0</c:v>
                </c:pt>
                <c:pt idx="1771">
                  <c:v>0</c:v>
                </c:pt>
                <c:pt idx="1772">
                  <c:v>0</c:v>
                </c:pt>
                <c:pt idx="1773">
                  <c:v>0</c:v>
                </c:pt>
                <c:pt idx="1774">
                  <c:v>0</c:v>
                </c:pt>
                <c:pt idx="1775">
                  <c:v>0</c:v>
                </c:pt>
                <c:pt idx="1776">
                  <c:v>0</c:v>
                </c:pt>
                <c:pt idx="1777">
                  <c:v>0</c:v>
                </c:pt>
                <c:pt idx="1778">
                  <c:v>0</c:v>
                </c:pt>
                <c:pt idx="1779">
                  <c:v>0</c:v>
                </c:pt>
                <c:pt idx="1780">
                  <c:v>0</c:v>
                </c:pt>
                <c:pt idx="1781">
                  <c:v>0</c:v>
                </c:pt>
                <c:pt idx="1782">
                  <c:v>0</c:v>
                </c:pt>
                <c:pt idx="1783">
                  <c:v>0</c:v>
                </c:pt>
                <c:pt idx="1784">
                  <c:v>0</c:v>
                </c:pt>
                <c:pt idx="1785">
                  <c:v>0</c:v>
                </c:pt>
                <c:pt idx="1786">
                  <c:v>0</c:v>
                </c:pt>
                <c:pt idx="1787">
                  <c:v>0</c:v>
                </c:pt>
                <c:pt idx="1788">
                  <c:v>0</c:v>
                </c:pt>
                <c:pt idx="1789">
                  <c:v>0</c:v>
                </c:pt>
                <c:pt idx="1790">
                  <c:v>0</c:v>
                </c:pt>
                <c:pt idx="1791">
                  <c:v>0</c:v>
                </c:pt>
                <c:pt idx="1792">
                  <c:v>0</c:v>
                </c:pt>
                <c:pt idx="1793">
                  <c:v>0</c:v>
                </c:pt>
                <c:pt idx="1794">
                  <c:v>0</c:v>
                </c:pt>
                <c:pt idx="1795">
                  <c:v>0</c:v>
                </c:pt>
                <c:pt idx="1796">
                  <c:v>0</c:v>
                </c:pt>
                <c:pt idx="1797">
                  <c:v>0</c:v>
                </c:pt>
                <c:pt idx="1798">
                  <c:v>0</c:v>
                </c:pt>
                <c:pt idx="1799">
                  <c:v>0</c:v>
                </c:pt>
                <c:pt idx="1800">
                  <c:v>0</c:v>
                </c:pt>
                <c:pt idx="1801">
                  <c:v>10</c:v>
                </c:pt>
                <c:pt idx="1802">
                  <c:v>20</c:v>
                </c:pt>
                <c:pt idx="1803">
                  <c:v>30</c:v>
                </c:pt>
                <c:pt idx="1804">
                  <c:v>40</c:v>
                </c:pt>
                <c:pt idx="1805">
                  <c:v>50</c:v>
                </c:pt>
                <c:pt idx="1806">
                  <c:v>60</c:v>
                </c:pt>
                <c:pt idx="1807">
                  <c:v>70</c:v>
                </c:pt>
                <c:pt idx="1808">
                  <c:v>80</c:v>
                </c:pt>
                <c:pt idx="1809">
                  <c:v>90</c:v>
                </c:pt>
                <c:pt idx="1810">
                  <c:v>100</c:v>
                </c:pt>
                <c:pt idx="1811">
                  <c:v>110</c:v>
                </c:pt>
                <c:pt idx="1812">
                  <c:v>120</c:v>
                </c:pt>
                <c:pt idx="1813">
                  <c:v>130</c:v>
                </c:pt>
                <c:pt idx="1814">
                  <c:v>140</c:v>
                </c:pt>
                <c:pt idx="1815">
                  <c:v>150</c:v>
                </c:pt>
                <c:pt idx="1816">
                  <c:v>160</c:v>
                </c:pt>
                <c:pt idx="1817">
                  <c:v>170</c:v>
                </c:pt>
                <c:pt idx="1818">
                  <c:v>180</c:v>
                </c:pt>
                <c:pt idx="1819">
                  <c:v>190</c:v>
                </c:pt>
                <c:pt idx="1820">
                  <c:v>200</c:v>
                </c:pt>
                <c:pt idx="1821">
                  <c:v>210</c:v>
                </c:pt>
                <c:pt idx="1822">
                  <c:v>220</c:v>
                </c:pt>
                <c:pt idx="1823">
                  <c:v>230</c:v>
                </c:pt>
                <c:pt idx="1824">
                  <c:v>240</c:v>
                </c:pt>
                <c:pt idx="1825">
                  <c:v>250</c:v>
                </c:pt>
                <c:pt idx="1826">
                  <c:v>260</c:v>
                </c:pt>
                <c:pt idx="1827">
                  <c:v>270</c:v>
                </c:pt>
                <c:pt idx="1828">
                  <c:v>280</c:v>
                </c:pt>
                <c:pt idx="1829">
                  <c:v>290</c:v>
                </c:pt>
                <c:pt idx="1830">
                  <c:v>300</c:v>
                </c:pt>
                <c:pt idx="1831">
                  <c:v>310</c:v>
                </c:pt>
                <c:pt idx="1832">
                  <c:v>320</c:v>
                </c:pt>
                <c:pt idx="1833">
                  <c:v>330</c:v>
                </c:pt>
                <c:pt idx="1834">
                  <c:v>340</c:v>
                </c:pt>
                <c:pt idx="1835">
                  <c:v>350</c:v>
                </c:pt>
                <c:pt idx="1836">
                  <c:v>360</c:v>
                </c:pt>
                <c:pt idx="1837">
                  <c:v>370</c:v>
                </c:pt>
                <c:pt idx="1838">
                  <c:v>380</c:v>
                </c:pt>
                <c:pt idx="1839">
                  <c:v>390</c:v>
                </c:pt>
                <c:pt idx="1840">
                  <c:v>400</c:v>
                </c:pt>
                <c:pt idx="1841">
                  <c:v>410</c:v>
                </c:pt>
                <c:pt idx="1842">
                  <c:v>420</c:v>
                </c:pt>
                <c:pt idx="1843">
                  <c:v>430</c:v>
                </c:pt>
                <c:pt idx="1844">
                  <c:v>440</c:v>
                </c:pt>
                <c:pt idx="1845">
                  <c:v>450</c:v>
                </c:pt>
                <c:pt idx="1846">
                  <c:v>460</c:v>
                </c:pt>
                <c:pt idx="1847">
                  <c:v>470</c:v>
                </c:pt>
                <c:pt idx="1848">
                  <c:v>480</c:v>
                </c:pt>
                <c:pt idx="1849">
                  <c:v>490</c:v>
                </c:pt>
                <c:pt idx="1850">
                  <c:v>500</c:v>
                </c:pt>
                <c:pt idx="1851">
                  <c:v>510</c:v>
                </c:pt>
                <c:pt idx="1852">
                  <c:v>520</c:v>
                </c:pt>
                <c:pt idx="1853">
                  <c:v>530</c:v>
                </c:pt>
                <c:pt idx="1854">
                  <c:v>540</c:v>
                </c:pt>
                <c:pt idx="1855">
                  <c:v>550</c:v>
                </c:pt>
                <c:pt idx="1856">
                  <c:v>560</c:v>
                </c:pt>
                <c:pt idx="1857">
                  <c:v>570</c:v>
                </c:pt>
                <c:pt idx="1858">
                  <c:v>580</c:v>
                </c:pt>
                <c:pt idx="1859">
                  <c:v>590</c:v>
                </c:pt>
                <c:pt idx="1860">
                  <c:v>600</c:v>
                </c:pt>
                <c:pt idx="1861">
                  <c:v>610</c:v>
                </c:pt>
                <c:pt idx="1862">
                  <c:v>620</c:v>
                </c:pt>
                <c:pt idx="1863">
                  <c:v>630</c:v>
                </c:pt>
                <c:pt idx="1864">
                  <c:v>640</c:v>
                </c:pt>
                <c:pt idx="1865">
                  <c:v>650</c:v>
                </c:pt>
                <c:pt idx="1866">
                  <c:v>660</c:v>
                </c:pt>
                <c:pt idx="1867">
                  <c:v>670</c:v>
                </c:pt>
                <c:pt idx="1868">
                  <c:v>680</c:v>
                </c:pt>
                <c:pt idx="1869">
                  <c:v>690</c:v>
                </c:pt>
                <c:pt idx="1870">
                  <c:v>700</c:v>
                </c:pt>
                <c:pt idx="1871">
                  <c:v>710</c:v>
                </c:pt>
                <c:pt idx="1872">
                  <c:v>720</c:v>
                </c:pt>
                <c:pt idx="1873">
                  <c:v>730</c:v>
                </c:pt>
                <c:pt idx="1874">
                  <c:v>740</c:v>
                </c:pt>
                <c:pt idx="1875">
                  <c:v>750</c:v>
                </c:pt>
                <c:pt idx="1876">
                  <c:v>760</c:v>
                </c:pt>
                <c:pt idx="1877">
                  <c:v>770</c:v>
                </c:pt>
                <c:pt idx="1878">
                  <c:v>780</c:v>
                </c:pt>
                <c:pt idx="1879">
                  <c:v>790</c:v>
                </c:pt>
                <c:pt idx="1880">
                  <c:v>800</c:v>
                </c:pt>
                <c:pt idx="1881">
                  <c:v>810</c:v>
                </c:pt>
                <c:pt idx="1882">
                  <c:v>820</c:v>
                </c:pt>
                <c:pt idx="1883">
                  <c:v>830</c:v>
                </c:pt>
                <c:pt idx="1884">
                  <c:v>840</c:v>
                </c:pt>
                <c:pt idx="1885">
                  <c:v>850</c:v>
                </c:pt>
                <c:pt idx="1886">
                  <c:v>860</c:v>
                </c:pt>
                <c:pt idx="1887">
                  <c:v>870</c:v>
                </c:pt>
                <c:pt idx="1888">
                  <c:v>880</c:v>
                </c:pt>
                <c:pt idx="1889">
                  <c:v>890</c:v>
                </c:pt>
                <c:pt idx="1890">
                  <c:v>900</c:v>
                </c:pt>
                <c:pt idx="1891">
                  <c:v>910</c:v>
                </c:pt>
                <c:pt idx="1892">
                  <c:v>920</c:v>
                </c:pt>
                <c:pt idx="1893">
                  <c:v>930</c:v>
                </c:pt>
                <c:pt idx="1894">
                  <c:v>940</c:v>
                </c:pt>
                <c:pt idx="1895">
                  <c:v>950</c:v>
                </c:pt>
                <c:pt idx="1896">
                  <c:v>960</c:v>
                </c:pt>
                <c:pt idx="1897">
                  <c:v>970</c:v>
                </c:pt>
                <c:pt idx="1898">
                  <c:v>980</c:v>
                </c:pt>
                <c:pt idx="1899">
                  <c:v>990</c:v>
                </c:pt>
                <c:pt idx="1900">
                  <c:v>1000</c:v>
                </c:pt>
                <c:pt idx="1901">
                  <c:v>1010</c:v>
                </c:pt>
                <c:pt idx="1902">
                  <c:v>1020</c:v>
                </c:pt>
                <c:pt idx="1903">
                  <c:v>1030</c:v>
                </c:pt>
                <c:pt idx="1904">
                  <c:v>1040</c:v>
                </c:pt>
                <c:pt idx="1905">
                  <c:v>1050</c:v>
                </c:pt>
                <c:pt idx="1906">
                  <c:v>1060</c:v>
                </c:pt>
                <c:pt idx="1907">
                  <c:v>1070</c:v>
                </c:pt>
                <c:pt idx="1908">
                  <c:v>1080</c:v>
                </c:pt>
                <c:pt idx="1909">
                  <c:v>1090</c:v>
                </c:pt>
                <c:pt idx="1910">
                  <c:v>1100</c:v>
                </c:pt>
                <c:pt idx="1911">
                  <c:v>1110</c:v>
                </c:pt>
                <c:pt idx="1912">
                  <c:v>1120</c:v>
                </c:pt>
                <c:pt idx="1913">
                  <c:v>1130</c:v>
                </c:pt>
                <c:pt idx="1914">
                  <c:v>1140</c:v>
                </c:pt>
                <c:pt idx="1915">
                  <c:v>1150</c:v>
                </c:pt>
                <c:pt idx="1916">
                  <c:v>1160</c:v>
                </c:pt>
                <c:pt idx="1917">
                  <c:v>1170</c:v>
                </c:pt>
                <c:pt idx="1918">
                  <c:v>1180</c:v>
                </c:pt>
                <c:pt idx="1919">
                  <c:v>1190</c:v>
                </c:pt>
                <c:pt idx="1920">
                  <c:v>1200</c:v>
                </c:pt>
                <c:pt idx="1921">
                  <c:v>1210</c:v>
                </c:pt>
                <c:pt idx="1922">
                  <c:v>1220</c:v>
                </c:pt>
                <c:pt idx="1923">
                  <c:v>1230</c:v>
                </c:pt>
                <c:pt idx="1924">
                  <c:v>1240</c:v>
                </c:pt>
                <c:pt idx="1925">
                  <c:v>1250</c:v>
                </c:pt>
                <c:pt idx="1926">
                  <c:v>1260</c:v>
                </c:pt>
                <c:pt idx="1927">
                  <c:v>1270</c:v>
                </c:pt>
                <c:pt idx="1928">
                  <c:v>1280</c:v>
                </c:pt>
                <c:pt idx="1929">
                  <c:v>1290</c:v>
                </c:pt>
                <c:pt idx="1930">
                  <c:v>1300</c:v>
                </c:pt>
                <c:pt idx="1931">
                  <c:v>1310</c:v>
                </c:pt>
                <c:pt idx="1932">
                  <c:v>1320</c:v>
                </c:pt>
                <c:pt idx="1933">
                  <c:v>1330</c:v>
                </c:pt>
                <c:pt idx="1934">
                  <c:v>1340</c:v>
                </c:pt>
                <c:pt idx="1935">
                  <c:v>1350</c:v>
                </c:pt>
                <c:pt idx="1936">
                  <c:v>1360</c:v>
                </c:pt>
                <c:pt idx="1937">
                  <c:v>1370</c:v>
                </c:pt>
                <c:pt idx="1938">
                  <c:v>1380</c:v>
                </c:pt>
                <c:pt idx="1939">
                  <c:v>1390</c:v>
                </c:pt>
                <c:pt idx="1940">
                  <c:v>1400</c:v>
                </c:pt>
                <c:pt idx="1941">
                  <c:v>1410</c:v>
                </c:pt>
                <c:pt idx="1942">
                  <c:v>1420</c:v>
                </c:pt>
                <c:pt idx="1943">
                  <c:v>1430</c:v>
                </c:pt>
                <c:pt idx="1944">
                  <c:v>1440</c:v>
                </c:pt>
                <c:pt idx="1945">
                  <c:v>1450</c:v>
                </c:pt>
                <c:pt idx="1946">
                  <c:v>1460</c:v>
                </c:pt>
                <c:pt idx="1947">
                  <c:v>1470</c:v>
                </c:pt>
                <c:pt idx="1948">
                  <c:v>1480</c:v>
                </c:pt>
                <c:pt idx="1949">
                  <c:v>1490</c:v>
                </c:pt>
                <c:pt idx="1950">
                  <c:v>1500</c:v>
                </c:pt>
                <c:pt idx="1951">
                  <c:v>1510</c:v>
                </c:pt>
                <c:pt idx="1952">
                  <c:v>1520</c:v>
                </c:pt>
                <c:pt idx="1953">
                  <c:v>1530</c:v>
                </c:pt>
                <c:pt idx="1954">
                  <c:v>1540</c:v>
                </c:pt>
                <c:pt idx="1955">
                  <c:v>1550</c:v>
                </c:pt>
                <c:pt idx="1956">
                  <c:v>1560</c:v>
                </c:pt>
                <c:pt idx="1957">
                  <c:v>1570</c:v>
                </c:pt>
                <c:pt idx="1958">
                  <c:v>1580</c:v>
                </c:pt>
                <c:pt idx="1959">
                  <c:v>1590</c:v>
                </c:pt>
                <c:pt idx="1960">
                  <c:v>1600</c:v>
                </c:pt>
                <c:pt idx="1961">
                  <c:v>1610</c:v>
                </c:pt>
                <c:pt idx="1962">
                  <c:v>1620</c:v>
                </c:pt>
                <c:pt idx="1963">
                  <c:v>1630</c:v>
                </c:pt>
                <c:pt idx="1964">
                  <c:v>1640</c:v>
                </c:pt>
                <c:pt idx="1965">
                  <c:v>1650</c:v>
                </c:pt>
                <c:pt idx="1966">
                  <c:v>1660</c:v>
                </c:pt>
                <c:pt idx="1967">
                  <c:v>1670</c:v>
                </c:pt>
                <c:pt idx="1968">
                  <c:v>1680</c:v>
                </c:pt>
                <c:pt idx="1969">
                  <c:v>1690</c:v>
                </c:pt>
                <c:pt idx="1970">
                  <c:v>1700</c:v>
                </c:pt>
                <c:pt idx="1971">
                  <c:v>1710</c:v>
                </c:pt>
                <c:pt idx="1972">
                  <c:v>1720</c:v>
                </c:pt>
                <c:pt idx="1973">
                  <c:v>1730</c:v>
                </c:pt>
                <c:pt idx="1974">
                  <c:v>1740</c:v>
                </c:pt>
                <c:pt idx="1975">
                  <c:v>1750</c:v>
                </c:pt>
                <c:pt idx="1976">
                  <c:v>1760</c:v>
                </c:pt>
                <c:pt idx="1977">
                  <c:v>1770</c:v>
                </c:pt>
                <c:pt idx="1978">
                  <c:v>1780</c:v>
                </c:pt>
                <c:pt idx="1979">
                  <c:v>1790</c:v>
                </c:pt>
                <c:pt idx="1980">
                  <c:v>1800</c:v>
                </c:pt>
                <c:pt idx="1981">
                  <c:v>1810</c:v>
                </c:pt>
                <c:pt idx="1982">
                  <c:v>1820</c:v>
                </c:pt>
                <c:pt idx="1983">
                  <c:v>1830</c:v>
                </c:pt>
                <c:pt idx="1984">
                  <c:v>1840</c:v>
                </c:pt>
                <c:pt idx="1985">
                  <c:v>1850</c:v>
                </c:pt>
                <c:pt idx="1986">
                  <c:v>1860</c:v>
                </c:pt>
                <c:pt idx="1987">
                  <c:v>1870</c:v>
                </c:pt>
                <c:pt idx="1988">
                  <c:v>1880</c:v>
                </c:pt>
                <c:pt idx="1989">
                  <c:v>1890</c:v>
                </c:pt>
                <c:pt idx="1990">
                  <c:v>1900</c:v>
                </c:pt>
                <c:pt idx="1991">
                  <c:v>1910</c:v>
                </c:pt>
                <c:pt idx="1992">
                  <c:v>1920</c:v>
                </c:pt>
                <c:pt idx="1993">
                  <c:v>1930</c:v>
                </c:pt>
                <c:pt idx="1994">
                  <c:v>1940</c:v>
                </c:pt>
                <c:pt idx="1995">
                  <c:v>1950</c:v>
                </c:pt>
                <c:pt idx="1996">
                  <c:v>1960</c:v>
                </c:pt>
                <c:pt idx="1997">
                  <c:v>1970</c:v>
                </c:pt>
                <c:pt idx="1998">
                  <c:v>1980</c:v>
                </c:pt>
                <c:pt idx="1999">
                  <c:v>1990</c:v>
                </c:pt>
                <c:pt idx="2000">
                  <c:v>2000</c:v>
                </c:pt>
                <c:pt idx="2001">
                  <c:v>2010</c:v>
                </c:pt>
                <c:pt idx="2002">
                  <c:v>2020</c:v>
                </c:pt>
                <c:pt idx="2003">
                  <c:v>2030</c:v>
                </c:pt>
                <c:pt idx="2004">
                  <c:v>2040</c:v>
                </c:pt>
                <c:pt idx="2005">
                  <c:v>2050</c:v>
                </c:pt>
                <c:pt idx="2006">
                  <c:v>2060</c:v>
                </c:pt>
                <c:pt idx="2007">
                  <c:v>2070</c:v>
                </c:pt>
                <c:pt idx="2008">
                  <c:v>2080</c:v>
                </c:pt>
                <c:pt idx="2009">
                  <c:v>2090</c:v>
                </c:pt>
                <c:pt idx="2010">
                  <c:v>2100</c:v>
                </c:pt>
                <c:pt idx="2011">
                  <c:v>2110</c:v>
                </c:pt>
                <c:pt idx="2012">
                  <c:v>2120</c:v>
                </c:pt>
                <c:pt idx="2013">
                  <c:v>2130</c:v>
                </c:pt>
                <c:pt idx="2014">
                  <c:v>2140</c:v>
                </c:pt>
                <c:pt idx="2015">
                  <c:v>2150</c:v>
                </c:pt>
                <c:pt idx="2016">
                  <c:v>2160</c:v>
                </c:pt>
                <c:pt idx="2017">
                  <c:v>2170</c:v>
                </c:pt>
                <c:pt idx="2018">
                  <c:v>2180</c:v>
                </c:pt>
                <c:pt idx="2019">
                  <c:v>2190</c:v>
                </c:pt>
                <c:pt idx="2020">
                  <c:v>2200</c:v>
                </c:pt>
                <c:pt idx="2021">
                  <c:v>2210</c:v>
                </c:pt>
                <c:pt idx="2022">
                  <c:v>2220</c:v>
                </c:pt>
                <c:pt idx="2023">
                  <c:v>2230</c:v>
                </c:pt>
                <c:pt idx="2024">
                  <c:v>2240</c:v>
                </c:pt>
                <c:pt idx="2025">
                  <c:v>2250</c:v>
                </c:pt>
                <c:pt idx="2026">
                  <c:v>2260</c:v>
                </c:pt>
                <c:pt idx="2027">
                  <c:v>2270</c:v>
                </c:pt>
                <c:pt idx="2028">
                  <c:v>2280</c:v>
                </c:pt>
                <c:pt idx="2029">
                  <c:v>2290</c:v>
                </c:pt>
                <c:pt idx="2030">
                  <c:v>2300</c:v>
                </c:pt>
                <c:pt idx="2031">
                  <c:v>2310</c:v>
                </c:pt>
                <c:pt idx="2032">
                  <c:v>2320</c:v>
                </c:pt>
                <c:pt idx="2033">
                  <c:v>2330</c:v>
                </c:pt>
                <c:pt idx="2034">
                  <c:v>2340</c:v>
                </c:pt>
                <c:pt idx="2035">
                  <c:v>2350</c:v>
                </c:pt>
                <c:pt idx="2036">
                  <c:v>2360</c:v>
                </c:pt>
                <c:pt idx="2037">
                  <c:v>2370</c:v>
                </c:pt>
                <c:pt idx="2038">
                  <c:v>2380</c:v>
                </c:pt>
                <c:pt idx="2039">
                  <c:v>2390</c:v>
                </c:pt>
                <c:pt idx="2040">
                  <c:v>2400</c:v>
                </c:pt>
                <c:pt idx="2041">
                  <c:v>2410</c:v>
                </c:pt>
                <c:pt idx="2042">
                  <c:v>2420</c:v>
                </c:pt>
                <c:pt idx="2043">
                  <c:v>2430</c:v>
                </c:pt>
                <c:pt idx="2044">
                  <c:v>2440</c:v>
                </c:pt>
                <c:pt idx="2045">
                  <c:v>2450</c:v>
                </c:pt>
                <c:pt idx="2046">
                  <c:v>2460</c:v>
                </c:pt>
                <c:pt idx="2047">
                  <c:v>2470</c:v>
                </c:pt>
                <c:pt idx="2048">
                  <c:v>2480</c:v>
                </c:pt>
                <c:pt idx="2049">
                  <c:v>2490</c:v>
                </c:pt>
                <c:pt idx="2050">
                  <c:v>2500</c:v>
                </c:pt>
                <c:pt idx="2051">
                  <c:v>2510</c:v>
                </c:pt>
                <c:pt idx="2052">
                  <c:v>2520</c:v>
                </c:pt>
                <c:pt idx="2053">
                  <c:v>2530</c:v>
                </c:pt>
                <c:pt idx="2054">
                  <c:v>2540</c:v>
                </c:pt>
                <c:pt idx="2055">
                  <c:v>2550</c:v>
                </c:pt>
                <c:pt idx="2056">
                  <c:v>2560</c:v>
                </c:pt>
                <c:pt idx="2057">
                  <c:v>2570</c:v>
                </c:pt>
                <c:pt idx="2058">
                  <c:v>2580</c:v>
                </c:pt>
                <c:pt idx="2059">
                  <c:v>2590</c:v>
                </c:pt>
                <c:pt idx="2060">
                  <c:v>2600</c:v>
                </c:pt>
                <c:pt idx="2061">
                  <c:v>2610</c:v>
                </c:pt>
                <c:pt idx="2062">
                  <c:v>2620</c:v>
                </c:pt>
                <c:pt idx="2063">
                  <c:v>2630</c:v>
                </c:pt>
                <c:pt idx="2064">
                  <c:v>2640</c:v>
                </c:pt>
                <c:pt idx="2065">
                  <c:v>2650</c:v>
                </c:pt>
                <c:pt idx="2066">
                  <c:v>2660</c:v>
                </c:pt>
                <c:pt idx="2067">
                  <c:v>2670</c:v>
                </c:pt>
                <c:pt idx="2068">
                  <c:v>2680</c:v>
                </c:pt>
                <c:pt idx="2069">
                  <c:v>2690</c:v>
                </c:pt>
                <c:pt idx="2070">
                  <c:v>2700</c:v>
                </c:pt>
                <c:pt idx="2071">
                  <c:v>2710</c:v>
                </c:pt>
                <c:pt idx="2072">
                  <c:v>2720</c:v>
                </c:pt>
                <c:pt idx="2073">
                  <c:v>2730</c:v>
                </c:pt>
                <c:pt idx="2074">
                  <c:v>2740</c:v>
                </c:pt>
                <c:pt idx="2075">
                  <c:v>2750</c:v>
                </c:pt>
                <c:pt idx="2076">
                  <c:v>2760</c:v>
                </c:pt>
                <c:pt idx="2077">
                  <c:v>2770</c:v>
                </c:pt>
                <c:pt idx="2078">
                  <c:v>2780</c:v>
                </c:pt>
                <c:pt idx="2079">
                  <c:v>2790</c:v>
                </c:pt>
                <c:pt idx="2080">
                  <c:v>2800</c:v>
                </c:pt>
                <c:pt idx="2081">
                  <c:v>2810</c:v>
                </c:pt>
                <c:pt idx="2082">
                  <c:v>2820</c:v>
                </c:pt>
                <c:pt idx="2083">
                  <c:v>2830</c:v>
                </c:pt>
                <c:pt idx="2084">
                  <c:v>2840</c:v>
                </c:pt>
                <c:pt idx="2085">
                  <c:v>2850</c:v>
                </c:pt>
                <c:pt idx="2086">
                  <c:v>2860</c:v>
                </c:pt>
                <c:pt idx="2087">
                  <c:v>2870</c:v>
                </c:pt>
                <c:pt idx="2088">
                  <c:v>2880</c:v>
                </c:pt>
                <c:pt idx="2089">
                  <c:v>2890</c:v>
                </c:pt>
                <c:pt idx="2090">
                  <c:v>2900</c:v>
                </c:pt>
                <c:pt idx="2091">
                  <c:v>2910</c:v>
                </c:pt>
                <c:pt idx="2092">
                  <c:v>2920</c:v>
                </c:pt>
                <c:pt idx="2093">
                  <c:v>2930</c:v>
                </c:pt>
                <c:pt idx="2094">
                  <c:v>2940</c:v>
                </c:pt>
                <c:pt idx="2095">
                  <c:v>2950</c:v>
                </c:pt>
                <c:pt idx="2096">
                  <c:v>2960</c:v>
                </c:pt>
                <c:pt idx="2097">
                  <c:v>2970</c:v>
                </c:pt>
                <c:pt idx="2098">
                  <c:v>2980</c:v>
                </c:pt>
                <c:pt idx="2099">
                  <c:v>2990</c:v>
                </c:pt>
                <c:pt idx="2100">
                  <c:v>3000</c:v>
                </c:pt>
                <c:pt idx="2101">
                  <c:v>3010</c:v>
                </c:pt>
                <c:pt idx="2102">
                  <c:v>3020</c:v>
                </c:pt>
                <c:pt idx="2103">
                  <c:v>3030</c:v>
                </c:pt>
                <c:pt idx="2104">
                  <c:v>3040</c:v>
                </c:pt>
                <c:pt idx="2105">
                  <c:v>3050</c:v>
                </c:pt>
                <c:pt idx="2106">
                  <c:v>3060</c:v>
                </c:pt>
                <c:pt idx="2107">
                  <c:v>3070</c:v>
                </c:pt>
                <c:pt idx="2108">
                  <c:v>3080</c:v>
                </c:pt>
                <c:pt idx="2109">
                  <c:v>3090</c:v>
                </c:pt>
                <c:pt idx="2110">
                  <c:v>3100</c:v>
                </c:pt>
                <c:pt idx="2111">
                  <c:v>3110</c:v>
                </c:pt>
                <c:pt idx="2112">
                  <c:v>3120</c:v>
                </c:pt>
                <c:pt idx="2113">
                  <c:v>3130</c:v>
                </c:pt>
                <c:pt idx="2114">
                  <c:v>3140</c:v>
                </c:pt>
                <c:pt idx="2115">
                  <c:v>3150</c:v>
                </c:pt>
                <c:pt idx="2116">
                  <c:v>3160</c:v>
                </c:pt>
                <c:pt idx="2117">
                  <c:v>3170</c:v>
                </c:pt>
                <c:pt idx="2118">
                  <c:v>3180</c:v>
                </c:pt>
                <c:pt idx="2119">
                  <c:v>3190</c:v>
                </c:pt>
                <c:pt idx="2120">
                  <c:v>3200</c:v>
                </c:pt>
                <c:pt idx="2121">
                  <c:v>3210</c:v>
                </c:pt>
                <c:pt idx="2122">
                  <c:v>3220</c:v>
                </c:pt>
                <c:pt idx="2123">
                  <c:v>3230</c:v>
                </c:pt>
                <c:pt idx="2124">
                  <c:v>3240</c:v>
                </c:pt>
                <c:pt idx="2125">
                  <c:v>3250</c:v>
                </c:pt>
                <c:pt idx="2126">
                  <c:v>3260</c:v>
                </c:pt>
                <c:pt idx="2127">
                  <c:v>3270</c:v>
                </c:pt>
                <c:pt idx="2128">
                  <c:v>3280</c:v>
                </c:pt>
                <c:pt idx="2129">
                  <c:v>3290</c:v>
                </c:pt>
                <c:pt idx="2130">
                  <c:v>3300</c:v>
                </c:pt>
                <c:pt idx="2131">
                  <c:v>3310</c:v>
                </c:pt>
                <c:pt idx="2132">
                  <c:v>3320</c:v>
                </c:pt>
                <c:pt idx="2133">
                  <c:v>3330</c:v>
                </c:pt>
                <c:pt idx="2134">
                  <c:v>3340</c:v>
                </c:pt>
                <c:pt idx="2135">
                  <c:v>3350</c:v>
                </c:pt>
                <c:pt idx="2136">
                  <c:v>3360</c:v>
                </c:pt>
                <c:pt idx="2137">
                  <c:v>3370</c:v>
                </c:pt>
                <c:pt idx="2138">
                  <c:v>3380</c:v>
                </c:pt>
                <c:pt idx="2139">
                  <c:v>3390</c:v>
                </c:pt>
                <c:pt idx="2140">
                  <c:v>3400</c:v>
                </c:pt>
                <c:pt idx="2141">
                  <c:v>3410</c:v>
                </c:pt>
                <c:pt idx="2142">
                  <c:v>3420</c:v>
                </c:pt>
                <c:pt idx="2143">
                  <c:v>3430</c:v>
                </c:pt>
                <c:pt idx="2144">
                  <c:v>3440</c:v>
                </c:pt>
                <c:pt idx="2145">
                  <c:v>3450</c:v>
                </c:pt>
                <c:pt idx="2146">
                  <c:v>3460</c:v>
                </c:pt>
                <c:pt idx="2147">
                  <c:v>3470</c:v>
                </c:pt>
                <c:pt idx="2148">
                  <c:v>3480</c:v>
                </c:pt>
                <c:pt idx="2149">
                  <c:v>3490</c:v>
                </c:pt>
                <c:pt idx="2150">
                  <c:v>3500</c:v>
                </c:pt>
                <c:pt idx="2151">
                  <c:v>3510</c:v>
                </c:pt>
                <c:pt idx="2152">
                  <c:v>3520</c:v>
                </c:pt>
                <c:pt idx="2153">
                  <c:v>3530</c:v>
                </c:pt>
                <c:pt idx="2154">
                  <c:v>3540</c:v>
                </c:pt>
                <c:pt idx="2155">
                  <c:v>3550</c:v>
                </c:pt>
                <c:pt idx="2156">
                  <c:v>3560</c:v>
                </c:pt>
                <c:pt idx="2157">
                  <c:v>3570</c:v>
                </c:pt>
                <c:pt idx="2158">
                  <c:v>3580</c:v>
                </c:pt>
                <c:pt idx="2159">
                  <c:v>3590</c:v>
                </c:pt>
                <c:pt idx="2160">
                  <c:v>3600</c:v>
                </c:pt>
                <c:pt idx="2161">
                  <c:v>3610</c:v>
                </c:pt>
                <c:pt idx="2162">
                  <c:v>3620</c:v>
                </c:pt>
                <c:pt idx="2163">
                  <c:v>3630</c:v>
                </c:pt>
                <c:pt idx="2164">
                  <c:v>3640</c:v>
                </c:pt>
                <c:pt idx="2165">
                  <c:v>3650</c:v>
                </c:pt>
                <c:pt idx="2166">
                  <c:v>3660</c:v>
                </c:pt>
                <c:pt idx="2167">
                  <c:v>3670</c:v>
                </c:pt>
                <c:pt idx="2168">
                  <c:v>3680</c:v>
                </c:pt>
                <c:pt idx="2169">
                  <c:v>3690</c:v>
                </c:pt>
                <c:pt idx="2170">
                  <c:v>3700</c:v>
                </c:pt>
                <c:pt idx="2171">
                  <c:v>3710</c:v>
                </c:pt>
                <c:pt idx="2172">
                  <c:v>3720</c:v>
                </c:pt>
                <c:pt idx="2173">
                  <c:v>3730</c:v>
                </c:pt>
                <c:pt idx="2174">
                  <c:v>3740</c:v>
                </c:pt>
                <c:pt idx="2175">
                  <c:v>3750</c:v>
                </c:pt>
                <c:pt idx="2176">
                  <c:v>3760</c:v>
                </c:pt>
                <c:pt idx="2177">
                  <c:v>3770</c:v>
                </c:pt>
                <c:pt idx="2178">
                  <c:v>3780</c:v>
                </c:pt>
                <c:pt idx="2179">
                  <c:v>3790</c:v>
                </c:pt>
                <c:pt idx="2180">
                  <c:v>3800</c:v>
                </c:pt>
                <c:pt idx="2181">
                  <c:v>3810</c:v>
                </c:pt>
                <c:pt idx="2182">
                  <c:v>3820</c:v>
                </c:pt>
                <c:pt idx="2183">
                  <c:v>3830</c:v>
                </c:pt>
                <c:pt idx="2184">
                  <c:v>3840</c:v>
                </c:pt>
                <c:pt idx="2185">
                  <c:v>3850</c:v>
                </c:pt>
                <c:pt idx="2186">
                  <c:v>3860</c:v>
                </c:pt>
                <c:pt idx="2187">
                  <c:v>3870</c:v>
                </c:pt>
                <c:pt idx="2188">
                  <c:v>3880</c:v>
                </c:pt>
                <c:pt idx="2189">
                  <c:v>3890</c:v>
                </c:pt>
                <c:pt idx="2190">
                  <c:v>3900</c:v>
                </c:pt>
                <c:pt idx="2191">
                  <c:v>3910</c:v>
                </c:pt>
                <c:pt idx="2192">
                  <c:v>3920</c:v>
                </c:pt>
                <c:pt idx="2193">
                  <c:v>3930</c:v>
                </c:pt>
                <c:pt idx="2194">
                  <c:v>3940</c:v>
                </c:pt>
                <c:pt idx="2195">
                  <c:v>3950</c:v>
                </c:pt>
                <c:pt idx="2196">
                  <c:v>3960</c:v>
                </c:pt>
                <c:pt idx="2197">
                  <c:v>3970</c:v>
                </c:pt>
                <c:pt idx="2198">
                  <c:v>3980</c:v>
                </c:pt>
                <c:pt idx="2199">
                  <c:v>3990</c:v>
                </c:pt>
                <c:pt idx="2200">
                  <c:v>4000</c:v>
                </c:pt>
                <c:pt idx="2201">
                  <c:v>4010</c:v>
                </c:pt>
                <c:pt idx="2202">
                  <c:v>4020</c:v>
                </c:pt>
                <c:pt idx="2203">
                  <c:v>4030</c:v>
                </c:pt>
                <c:pt idx="2204">
                  <c:v>4040</c:v>
                </c:pt>
                <c:pt idx="2205">
                  <c:v>4050</c:v>
                </c:pt>
                <c:pt idx="2206">
                  <c:v>4060</c:v>
                </c:pt>
                <c:pt idx="2207">
                  <c:v>4070</c:v>
                </c:pt>
                <c:pt idx="2208">
                  <c:v>4080</c:v>
                </c:pt>
                <c:pt idx="2209">
                  <c:v>4090</c:v>
                </c:pt>
                <c:pt idx="2210">
                  <c:v>4100</c:v>
                </c:pt>
                <c:pt idx="2211">
                  <c:v>4110</c:v>
                </c:pt>
                <c:pt idx="2212">
                  <c:v>4120</c:v>
                </c:pt>
                <c:pt idx="2213">
                  <c:v>4130</c:v>
                </c:pt>
                <c:pt idx="2214">
                  <c:v>4140</c:v>
                </c:pt>
                <c:pt idx="2215">
                  <c:v>4150</c:v>
                </c:pt>
                <c:pt idx="2216">
                  <c:v>4160</c:v>
                </c:pt>
                <c:pt idx="2217">
                  <c:v>4170</c:v>
                </c:pt>
                <c:pt idx="2218">
                  <c:v>4180</c:v>
                </c:pt>
                <c:pt idx="2219">
                  <c:v>4190</c:v>
                </c:pt>
                <c:pt idx="2220">
                  <c:v>4200</c:v>
                </c:pt>
                <c:pt idx="2221">
                  <c:v>4210</c:v>
                </c:pt>
                <c:pt idx="2222">
                  <c:v>4220</c:v>
                </c:pt>
                <c:pt idx="2223">
                  <c:v>4230</c:v>
                </c:pt>
                <c:pt idx="2224">
                  <c:v>4240</c:v>
                </c:pt>
                <c:pt idx="2225">
                  <c:v>4250</c:v>
                </c:pt>
                <c:pt idx="2226">
                  <c:v>4260</c:v>
                </c:pt>
                <c:pt idx="2227">
                  <c:v>4270</c:v>
                </c:pt>
                <c:pt idx="2228">
                  <c:v>4280</c:v>
                </c:pt>
                <c:pt idx="2229">
                  <c:v>4290</c:v>
                </c:pt>
                <c:pt idx="2230">
                  <c:v>4300</c:v>
                </c:pt>
                <c:pt idx="2231">
                  <c:v>4310</c:v>
                </c:pt>
                <c:pt idx="2232">
                  <c:v>4320</c:v>
                </c:pt>
                <c:pt idx="2233">
                  <c:v>4330</c:v>
                </c:pt>
                <c:pt idx="2234">
                  <c:v>4340</c:v>
                </c:pt>
                <c:pt idx="2235">
                  <c:v>4350</c:v>
                </c:pt>
                <c:pt idx="2236">
                  <c:v>4360</c:v>
                </c:pt>
                <c:pt idx="2237">
                  <c:v>4370</c:v>
                </c:pt>
                <c:pt idx="2238">
                  <c:v>4380</c:v>
                </c:pt>
                <c:pt idx="2239">
                  <c:v>4390</c:v>
                </c:pt>
                <c:pt idx="2240">
                  <c:v>4400</c:v>
                </c:pt>
                <c:pt idx="2241">
                  <c:v>4410</c:v>
                </c:pt>
                <c:pt idx="2242">
                  <c:v>4420</c:v>
                </c:pt>
                <c:pt idx="2243">
                  <c:v>4430</c:v>
                </c:pt>
                <c:pt idx="2244">
                  <c:v>4440</c:v>
                </c:pt>
                <c:pt idx="2245">
                  <c:v>4450</c:v>
                </c:pt>
                <c:pt idx="2246">
                  <c:v>4460</c:v>
                </c:pt>
                <c:pt idx="2247">
                  <c:v>4470</c:v>
                </c:pt>
                <c:pt idx="2248">
                  <c:v>4480</c:v>
                </c:pt>
                <c:pt idx="2249">
                  <c:v>4490</c:v>
                </c:pt>
                <c:pt idx="2250">
                  <c:v>4500</c:v>
                </c:pt>
                <c:pt idx="2251">
                  <c:v>4510</c:v>
                </c:pt>
                <c:pt idx="2252">
                  <c:v>4520</c:v>
                </c:pt>
                <c:pt idx="2253">
                  <c:v>4530</c:v>
                </c:pt>
                <c:pt idx="2254">
                  <c:v>4540</c:v>
                </c:pt>
                <c:pt idx="2255">
                  <c:v>4550</c:v>
                </c:pt>
                <c:pt idx="2256">
                  <c:v>4560</c:v>
                </c:pt>
                <c:pt idx="2257">
                  <c:v>4570</c:v>
                </c:pt>
                <c:pt idx="2258">
                  <c:v>4580</c:v>
                </c:pt>
                <c:pt idx="2259">
                  <c:v>4590</c:v>
                </c:pt>
                <c:pt idx="2260">
                  <c:v>4600</c:v>
                </c:pt>
                <c:pt idx="2261">
                  <c:v>4610</c:v>
                </c:pt>
                <c:pt idx="2262">
                  <c:v>4620</c:v>
                </c:pt>
                <c:pt idx="2263">
                  <c:v>4630</c:v>
                </c:pt>
                <c:pt idx="2264">
                  <c:v>4640</c:v>
                </c:pt>
                <c:pt idx="2265">
                  <c:v>4650</c:v>
                </c:pt>
                <c:pt idx="2266">
                  <c:v>4660</c:v>
                </c:pt>
                <c:pt idx="2267">
                  <c:v>4670</c:v>
                </c:pt>
                <c:pt idx="2268">
                  <c:v>4680</c:v>
                </c:pt>
                <c:pt idx="2269">
                  <c:v>4690</c:v>
                </c:pt>
                <c:pt idx="2270">
                  <c:v>4700</c:v>
                </c:pt>
                <c:pt idx="2271">
                  <c:v>4710</c:v>
                </c:pt>
                <c:pt idx="2272">
                  <c:v>4720</c:v>
                </c:pt>
                <c:pt idx="2273">
                  <c:v>4730</c:v>
                </c:pt>
                <c:pt idx="2274">
                  <c:v>4740</c:v>
                </c:pt>
                <c:pt idx="2275">
                  <c:v>4750</c:v>
                </c:pt>
                <c:pt idx="2276">
                  <c:v>4760</c:v>
                </c:pt>
                <c:pt idx="2277">
                  <c:v>4770</c:v>
                </c:pt>
                <c:pt idx="2278">
                  <c:v>4780</c:v>
                </c:pt>
                <c:pt idx="2279">
                  <c:v>4790</c:v>
                </c:pt>
                <c:pt idx="2280">
                  <c:v>4800</c:v>
                </c:pt>
                <c:pt idx="2281">
                  <c:v>4810</c:v>
                </c:pt>
                <c:pt idx="2282">
                  <c:v>4820</c:v>
                </c:pt>
                <c:pt idx="2283">
                  <c:v>4830</c:v>
                </c:pt>
                <c:pt idx="2284">
                  <c:v>4840</c:v>
                </c:pt>
                <c:pt idx="2285">
                  <c:v>4850</c:v>
                </c:pt>
                <c:pt idx="2286">
                  <c:v>4860</c:v>
                </c:pt>
                <c:pt idx="2287">
                  <c:v>4870</c:v>
                </c:pt>
                <c:pt idx="2288">
                  <c:v>4880</c:v>
                </c:pt>
                <c:pt idx="2289">
                  <c:v>4890</c:v>
                </c:pt>
                <c:pt idx="2290">
                  <c:v>4900</c:v>
                </c:pt>
                <c:pt idx="2291">
                  <c:v>4910</c:v>
                </c:pt>
                <c:pt idx="2292">
                  <c:v>4920</c:v>
                </c:pt>
                <c:pt idx="2293">
                  <c:v>4930</c:v>
                </c:pt>
                <c:pt idx="2294">
                  <c:v>4940</c:v>
                </c:pt>
                <c:pt idx="2295">
                  <c:v>4950</c:v>
                </c:pt>
                <c:pt idx="2296">
                  <c:v>4960</c:v>
                </c:pt>
                <c:pt idx="2297">
                  <c:v>4970</c:v>
                </c:pt>
                <c:pt idx="2298">
                  <c:v>4980</c:v>
                </c:pt>
                <c:pt idx="2299">
                  <c:v>4990</c:v>
                </c:pt>
                <c:pt idx="2300">
                  <c:v>5000</c:v>
                </c:pt>
                <c:pt idx="2301">
                  <c:v>5010</c:v>
                </c:pt>
                <c:pt idx="2302">
                  <c:v>5020</c:v>
                </c:pt>
                <c:pt idx="2303">
                  <c:v>5030</c:v>
                </c:pt>
                <c:pt idx="2304">
                  <c:v>5040</c:v>
                </c:pt>
                <c:pt idx="2305">
                  <c:v>5050</c:v>
                </c:pt>
                <c:pt idx="2306">
                  <c:v>5060</c:v>
                </c:pt>
                <c:pt idx="2307">
                  <c:v>5070</c:v>
                </c:pt>
                <c:pt idx="2308">
                  <c:v>5080</c:v>
                </c:pt>
                <c:pt idx="2309">
                  <c:v>5090</c:v>
                </c:pt>
                <c:pt idx="2310">
                  <c:v>5100</c:v>
                </c:pt>
                <c:pt idx="2311">
                  <c:v>5110</c:v>
                </c:pt>
                <c:pt idx="2312">
                  <c:v>5120</c:v>
                </c:pt>
                <c:pt idx="2313">
                  <c:v>5130</c:v>
                </c:pt>
                <c:pt idx="2314">
                  <c:v>5140</c:v>
                </c:pt>
                <c:pt idx="2315">
                  <c:v>5150</c:v>
                </c:pt>
                <c:pt idx="2316">
                  <c:v>5160</c:v>
                </c:pt>
                <c:pt idx="2317">
                  <c:v>5170</c:v>
                </c:pt>
                <c:pt idx="2318">
                  <c:v>5180</c:v>
                </c:pt>
                <c:pt idx="2319">
                  <c:v>5190</c:v>
                </c:pt>
                <c:pt idx="2320">
                  <c:v>5200</c:v>
                </c:pt>
                <c:pt idx="2321">
                  <c:v>5210</c:v>
                </c:pt>
                <c:pt idx="2322">
                  <c:v>5220</c:v>
                </c:pt>
                <c:pt idx="2323">
                  <c:v>5230</c:v>
                </c:pt>
                <c:pt idx="2324">
                  <c:v>5240</c:v>
                </c:pt>
                <c:pt idx="2325">
                  <c:v>5250</c:v>
                </c:pt>
                <c:pt idx="2326">
                  <c:v>5260</c:v>
                </c:pt>
                <c:pt idx="2327">
                  <c:v>5270</c:v>
                </c:pt>
                <c:pt idx="2328">
                  <c:v>5280</c:v>
                </c:pt>
                <c:pt idx="2329">
                  <c:v>5290</c:v>
                </c:pt>
                <c:pt idx="2330">
                  <c:v>5300</c:v>
                </c:pt>
                <c:pt idx="2331">
                  <c:v>5310</c:v>
                </c:pt>
                <c:pt idx="2332">
                  <c:v>5320</c:v>
                </c:pt>
                <c:pt idx="2333">
                  <c:v>5330</c:v>
                </c:pt>
                <c:pt idx="2334">
                  <c:v>5340</c:v>
                </c:pt>
                <c:pt idx="2335">
                  <c:v>5350</c:v>
                </c:pt>
                <c:pt idx="2336">
                  <c:v>5360</c:v>
                </c:pt>
                <c:pt idx="2337">
                  <c:v>5370</c:v>
                </c:pt>
                <c:pt idx="2338">
                  <c:v>5380</c:v>
                </c:pt>
                <c:pt idx="2339">
                  <c:v>5390</c:v>
                </c:pt>
                <c:pt idx="2340">
                  <c:v>5400</c:v>
                </c:pt>
                <c:pt idx="2341">
                  <c:v>5410</c:v>
                </c:pt>
                <c:pt idx="2342">
                  <c:v>5420</c:v>
                </c:pt>
                <c:pt idx="2343">
                  <c:v>5430</c:v>
                </c:pt>
                <c:pt idx="2344">
                  <c:v>5440</c:v>
                </c:pt>
                <c:pt idx="2345">
                  <c:v>5450</c:v>
                </c:pt>
                <c:pt idx="2346">
                  <c:v>5460</c:v>
                </c:pt>
                <c:pt idx="2347">
                  <c:v>5470</c:v>
                </c:pt>
                <c:pt idx="2348">
                  <c:v>5480</c:v>
                </c:pt>
                <c:pt idx="2349">
                  <c:v>5490</c:v>
                </c:pt>
                <c:pt idx="2350">
                  <c:v>5500</c:v>
                </c:pt>
                <c:pt idx="2351">
                  <c:v>5510</c:v>
                </c:pt>
                <c:pt idx="2352">
                  <c:v>5520</c:v>
                </c:pt>
                <c:pt idx="2353">
                  <c:v>5530</c:v>
                </c:pt>
                <c:pt idx="2354">
                  <c:v>5540</c:v>
                </c:pt>
                <c:pt idx="2355">
                  <c:v>5550</c:v>
                </c:pt>
                <c:pt idx="2356">
                  <c:v>5560</c:v>
                </c:pt>
                <c:pt idx="2357">
                  <c:v>5570</c:v>
                </c:pt>
                <c:pt idx="2358">
                  <c:v>5580</c:v>
                </c:pt>
                <c:pt idx="2359">
                  <c:v>5590</c:v>
                </c:pt>
                <c:pt idx="2360">
                  <c:v>5600</c:v>
                </c:pt>
                <c:pt idx="2361">
                  <c:v>5610</c:v>
                </c:pt>
                <c:pt idx="2362">
                  <c:v>5620</c:v>
                </c:pt>
                <c:pt idx="2363">
                  <c:v>5630</c:v>
                </c:pt>
                <c:pt idx="2364">
                  <c:v>5640</c:v>
                </c:pt>
                <c:pt idx="2365">
                  <c:v>5650</c:v>
                </c:pt>
                <c:pt idx="2366">
                  <c:v>5660</c:v>
                </c:pt>
                <c:pt idx="2367">
                  <c:v>5670</c:v>
                </c:pt>
                <c:pt idx="2368">
                  <c:v>5680</c:v>
                </c:pt>
                <c:pt idx="2369">
                  <c:v>5690</c:v>
                </c:pt>
                <c:pt idx="2370">
                  <c:v>5700</c:v>
                </c:pt>
                <c:pt idx="2371">
                  <c:v>5710</c:v>
                </c:pt>
                <c:pt idx="2372">
                  <c:v>5720</c:v>
                </c:pt>
                <c:pt idx="2373">
                  <c:v>5730</c:v>
                </c:pt>
                <c:pt idx="2374">
                  <c:v>5740</c:v>
                </c:pt>
                <c:pt idx="2375">
                  <c:v>5750</c:v>
                </c:pt>
                <c:pt idx="2376">
                  <c:v>5760</c:v>
                </c:pt>
                <c:pt idx="2377">
                  <c:v>5770</c:v>
                </c:pt>
                <c:pt idx="2378">
                  <c:v>5780</c:v>
                </c:pt>
                <c:pt idx="2379">
                  <c:v>5790</c:v>
                </c:pt>
                <c:pt idx="2380">
                  <c:v>5800</c:v>
                </c:pt>
                <c:pt idx="2381">
                  <c:v>5810</c:v>
                </c:pt>
                <c:pt idx="2382">
                  <c:v>5820</c:v>
                </c:pt>
                <c:pt idx="2383">
                  <c:v>5830</c:v>
                </c:pt>
                <c:pt idx="2384">
                  <c:v>5840</c:v>
                </c:pt>
                <c:pt idx="2385">
                  <c:v>5850</c:v>
                </c:pt>
                <c:pt idx="2386">
                  <c:v>5860</c:v>
                </c:pt>
                <c:pt idx="2387">
                  <c:v>5870</c:v>
                </c:pt>
                <c:pt idx="2388">
                  <c:v>5880</c:v>
                </c:pt>
                <c:pt idx="2389">
                  <c:v>5890</c:v>
                </c:pt>
                <c:pt idx="2390">
                  <c:v>5900</c:v>
                </c:pt>
                <c:pt idx="2391">
                  <c:v>5910</c:v>
                </c:pt>
                <c:pt idx="2392">
                  <c:v>5920</c:v>
                </c:pt>
                <c:pt idx="2393">
                  <c:v>5930</c:v>
                </c:pt>
                <c:pt idx="2394">
                  <c:v>5940</c:v>
                </c:pt>
                <c:pt idx="2395">
                  <c:v>5950</c:v>
                </c:pt>
                <c:pt idx="2396">
                  <c:v>5960</c:v>
                </c:pt>
                <c:pt idx="2397">
                  <c:v>5970</c:v>
                </c:pt>
                <c:pt idx="2398">
                  <c:v>5980</c:v>
                </c:pt>
                <c:pt idx="2399">
                  <c:v>5990</c:v>
                </c:pt>
                <c:pt idx="2400">
                  <c:v>6000</c:v>
                </c:pt>
              </c:numCache>
            </c:numRef>
          </c:val>
          <c:smooth val="0"/>
          <c:extLst>
            <c:ext xmlns:c16="http://schemas.microsoft.com/office/drawing/2014/chart" uri="{C3380CC4-5D6E-409C-BE32-E72D297353CC}">
              <c16:uniqueId val="{00000000-9927-4F4B-AD84-C53C69104B2B}"/>
            </c:ext>
          </c:extLst>
        </c:ser>
        <c:ser>
          <c:idx val="1"/>
          <c:order val="1"/>
          <c:tx>
            <c:strRef>
              <c:f>'[Graphes_note_Evolutions_malus-1.xlsx]Données_graphe_MASSE'!$C$6</c:f>
              <c:strCache>
                <c:ptCount val="1"/>
                <c:pt idx="0">
                  <c:v>Barème 2024</c:v>
                </c:pt>
              </c:strCache>
            </c:strRef>
          </c:tx>
          <c:spPr>
            <a:ln w="28575" cap="rnd">
              <a:solidFill>
                <a:schemeClr val="accent2"/>
              </a:solidFill>
              <a:round/>
            </a:ln>
            <a:effectLst/>
          </c:spPr>
          <c:marker>
            <c:symbol val="none"/>
          </c:marker>
          <c:cat>
            <c:numRef>
              <c:f>'[Graphes_note_Evolutions_malus-1.xlsx]Données_graphe_MASSE'!$A$7:$A$2407</c:f>
              <c:numCache>
                <c:formatCode>_-* #\ ##0_-;\-* #\ ##0_-;_-* "-"??_-;_-@_-</c:formatCode>
                <c:ptCount val="2401"/>
                <c:pt idx="0" formatCode="#\ ##0_ ;\-#\ ##0\ ">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pt idx="251">
                  <c:v>251</c:v>
                </c:pt>
                <c:pt idx="252">
                  <c:v>252</c:v>
                </c:pt>
                <c:pt idx="253">
                  <c:v>253</c:v>
                </c:pt>
                <c:pt idx="254">
                  <c:v>254</c:v>
                </c:pt>
                <c:pt idx="255">
                  <c:v>255</c:v>
                </c:pt>
                <c:pt idx="256">
                  <c:v>256</c:v>
                </c:pt>
                <c:pt idx="257">
                  <c:v>257</c:v>
                </c:pt>
                <c:pt idx="258">
                  <c:v>258</c:v>
                </c:pt>
                <c:pt idx="259">
                  <c:v>259</c:v>
                </c:pt>
                <c:pt idx="260">
                  <c:v>260</c:v>
                </c:pt>
                <c:pt idx="261">
                  <c:v>261</c:v>
                </c:pt>
                <c:pt idx="262">
                  <c:v>262</c:v>
                </c:pt>
                <c:pt idx="263">
                  <c:v>263</c:v>
                </c:pt>
                <c:pt idx="264">
                  <c:v>264</c:v>
                </c:pt>
                <c:pt idx="265">
                  <c:v>265</c:v>
                </c:pt>
                <c:pt idx="266">
                  <c:v>266</c:v>
                </c:pt>
                <c:pt idx="267">
                  <c:v>267</c:v>
                </c:pt>
                <c:pt idx="268">
                  <c:v>268</c:v>
                </c:pt>
                <c:pt idx="269">
                  <c:v>269</c:v>
                </c:pt>
                <c:pt idx="270">
                  <c:v>270</c:v>
                </c:pt>
                <c:pt idx="271">
                  <c:v>271</c:v>
                </c:pt>
                <c:pt idx="272">
                  <c:v>272</c:v>
                </c:pt>
                <c:pt idx="273">
                  <c:v>273</c:v>
                </c:pt>
                <c:pt idx="274">
                  <c:v>274</c:v>
                </c:pt>
                <c:pt idx="275">
                  <c:v>275</c:v>
                </c:pt>
                <c:pt idx="276">
                  <c:v>276</c:v>
                </c:pt>
                <c:pt idx="277">
                  <c:v>277</c:v>
                </c:pt>
                <c:pt idx="278">
                  <c:v>278</c:v>
                </c:pt>
                <c:pt idx="279">
                  <c:v>279</c:v>
                </c:pt>
                <c:pt idx="280">
                  <c:v>280</c:v>
                </c:pt>
                <c:pt idx="281">
                  <c:v>281</c:v>
                </c:pt>
                <c:pt idx="282">
                  <c:v>282</c:v>
                </c:pt>
                <c:pt idx="283">
                  <c:v>283</c:v>
                </c:pt>
                <c:pt idx="284">
                  <c:v>284</c:v>
                </c:pt>
                <c:pt idx="285">
                  <c:v>285</c:v>
                </c:pt>
                <c:pt idx="286">
                  <c:v>286</c:v>
                </c:pt>
                <c:pt idx="287">
                  <c:v>287</c:v>
                </c:pt>
                <c:pt idx="288">
                  <c:v>288</c:v>
                </c:pt>
                <c:pt idx="289">
                  <c:v>289</c:v>
                </c:pt>
                <c:pt idx="290">
                  <c:v>290</c:v>
                </c:pt>
                <c:pt idx="291">
                  <c:v>291</c:v>
                </c:pt>
                <c:pt idx="292">
                  <c:v>292</c:v>
                </c:pt>
                <c:pt idx="293">
                  <c:v>293</c:v>
                </c:pt>
                <c:pt idx="294">
                  <c:v>294</c:v>
                </c:pt>
                <c:pt idx="295">
                  <c:v>295</c:v>
                </c:pt>
                <c:pt idx="296">
                  <c:v>296</c:v>
                </c:pt>
                <c:pt idx="297">
                  <c:v>297</c:v>
                </c:pt>
                <c:pt idx="298">
                  <c:v>298</c:v>
                </c:pt>
                <c:pt idx="299">
                  <c:v>299</c:v>
                </c:pt>
                <c:pt idx="300">
                  <c:v>300</c:v>
                </c:pt>
                <c:pt idx="301">
                  <c:v>301</c:v>
                </c:pt>
                <c:pt idx="302">
                  <c:v>302</c:v>
                </c:pt>
                <c:pt idx="303">
                  <c:v>303</c:v>
                </c:pt>
                <c:pt idx="304">
                  <c:v>304</c:v>
                </c:pt>
                <c:pt idx="305">
                  <c:v>305</c:v>
                </c:pt>
                <c:pt idx="306">
                  <c:v>306</c:v>
                </c:pt>
                <c:pt idx="307">
                  <c:v>307</c:v>
                </c:pt>
                <c:pt idx="308">
                  <c:v>308</c:v>
                </c:pt>
                <c:pt idx="309">
                  <c:v>309</c:v>
                </c:pt>
                <c:pt idx="310">
                  <c:v>310</c:v>
                </c:pt>
                <c:pt idx="311">
                  <c:v>311</c:v>
                </c:pt>
                <c:pt idx="312">
                  <c:v>312</c:v>
                </c:pt>
                <c:pt idx="313">
                  <c:v>313</c:v>
                </c:pt>
                <c:pt idx="314">
                  <c:v>314</c:v>
                </c:pt>
                <c:pt idx="315">
                  <c:v>315</c:v>
                </c:pt>
                <c:pt idx="316">
                  <c:v>316</c:v>
                </c:pt>
                <c:pt idx="317">
                  <c:v>317</c:v>
                </c:pt>
                <c:pt idx="318">
                  <c:v>318</c:v>
                </c:pt>
                <c:pt idx="319">
                  <c:v>319</c:v>
                </c:pt>
                <c:pt idx="320">
                  <c:v>320</c:v>
                </c:pt>
                <c:pt idx="321">
                  <c:v>321</c:v>
                </c:pt>
                <c:pt idx="322">
                  <c:v>322</c:v>
                </c:pt>
                <c:pt idx="323">
                  <c:v>323</c:v>
                </c:pt>
                <c:pt idx="324">
                  <c:v>324</c:v>
                </c:pt>
                <c:pt idx="325">
                  <c:v>325</c:v>
                </c:pt>
                <c:pt idx="326">
                  <c:v>326</c:v>
                </c:pt>
                <c:pt idx="327">
                  <c:v>327</c:v>
                </c:pt>
                <c:pt idx="328">
                  <c:v>328</c:v>
                </c:pt>
                <c:pt idx="329">
                  <c:v>329</c:v>
                </c:pt>
                <c:pt idx="330">
                  <c:v>330</c:v>
                </c:pt>
                <c:pt idx="331">
                  <c:v>331</c:v>
                </c:pt>
                <c:pt idx="332">
                  <c:v>332</c:v>
                </c:pt>
                <c:pt idx="333">
                  <c:v>333</c:v>
                </c:pt>
                <c:pt idx="334">
                  <c:v>334</c:v>
                </c:pt>
                <c:pt idx="335">
                  <c:v>335</c:v>
                </c:pt>
                <c:pt idx="336">
                  <c:v>336</c:v>
                </c:pt>
                <c:pt idx="337">
                  <c:v>337</c:v>
                </c:pt>
                <c:pt idx="338">
                  <c:v>338</c:v>
                </c:pt>
                <c:pt idx="339">
                  <c:v>339</c:v>
                </c:pt>
                <c:pt idx="340">
                  <c:v>340</c:v>
                </c:pt>
                <c:pt idx="341">
                  <c:v>341</c:v>
                </c:pt>
                <c:pt idx="342">
                  <c:v>342</c:v>
                </c:pt>
                <c:pt idx="343">
                  <c:v>343</c:v>
                </c:pt>
                <c:pt idx="344">
                  <c:v>344</c:v>
                </c:pt>
                <c:pt idx="345">
                  <c:v>345</c:v>
                </c:pt>
                <c:pt idx="346">
                  <c:v>346</c:v>
                </c:pt>
                <c:pt idx="347">
                  <c:v>347</c:v>
                </c:pt>
                <c:pt idx="348">
                  <c:v>348</c:v>
                </c:pt>
                <c:pt idx="349">
                  <c:v>349</c:v>
                </c:pt>
                <c:pt idx="350">
                  <c:v>350</c:v>
                </c:pt>
                <c:pt idx="351">
                  <c:v>351</c:v>
                </c:pt>
                <c:pt idx="352">
                  <c:v>352</c:v>
                </c:pt>
                <c:pt idx="353">
                  <c:v>353</c:v>
                </c:pt>
                <c:pt idx="354">
                  <c:v>354</c:v>
                </c:pt>
                <c:pt idx="355">
                  <c:v>355</c:v>
                </c:pt>
                <c:pt idx="356">
                  <c:v>356</c:v>
                </c:pt>
                <c:pt idx="357">
                  <c:v>357</c:v>
                </c:pt>
                <c:pt idx="358">
                  <c:v>358</c:v>
                </c:pt>
                <c:pt idx="359">
                  <c:v>359</c:v>
                </c:pt>
                <c:pt idx="360">
                  <c:v>360</c:v>
                </c:pt>
                <c:pt idx="361">
                  <c:v>361</c:v>
                </c:pt>
                <c:pt idx="362">
                  <c:v>362</c:v>
                </c:pt>
                <c:pt idx="363">
                  <c:v>363</c:v>
                </c:pt>
                <c:pt idx="364">
                  <c:v>364</c:v>
                </c:pt>
                <c:pt idx="365">
                  <c:v>365</c:v>
                </c:pt>
                <c:pt idx="366">
                  <c:v>366</c:v>
                </c:pt>
                <c:pt idx="367">
                  <c:v>367</c:v>
                </c:pt>
                <c:pt idx="368">
                  <c:v>368</c:v>
                </c:pt>
                <c:pt idx="369">
                  <c:v>369</c:v>
                </c:pt>
                <c:pt idx="370">
                  <c:v>370</c:v>
                </c:pt>
                <c:pt idx="371">
                  <c:v>371</c:v>
                </c:pt>
                <c:pt idx="372">
                  <c:v>372</c:v>
                </c:pt>
                <c:pt idx="373">
                  <c:v>373</c:v>
                </c:pt>
                <c:pt idx="374">
                  <c:v>374</c:v>
                </c:pt>
                <c:pt idx="375">
                  <c:v>375</c:v>
                </c:pt>
                <c:pt idx="376">
                  <c:v>376</c:v>
                </c:pt>
                <c:pt idx="377">
                  <c:v>377</c:v>
                </c:pt>
                <c:pt idx="378">
                  <c:v>378</c:v>
                </c:pt>
                <c:pt idx="379">
                  <c:v>379</c:v>
                </c:pt>
                <c:pt idx="380">
                  <c:v>380</c:v>
                </c:pt>
                <c:pt idx="381">
                  <c:v>381</c:v>
                </c:pt>
                <c:pt idx="382">
                  <c:v>382</c:v>
                </c:pt>
                <c:pt idx="383">
                  <c:v>383</c:v>
                </c:pt>
                <c:pt idx="384">
                  <c:v>384</c:v>
                </c:pt>
                <c:pt idx="385">
                  <c:v>385</c:v>
                </c:pt>
                <c:pt idx="386">
                  <c:v>386</c:v>
                </c:pt>
                <c:pt idx="387">
                  <c:v>387</c:v>
                </c:pt>
                <c:pt idx="388">
                  <c:v>388</c:v>
                </c:pt>
                <c:pt idx="389">
                  <c:v>389</c:v>
                </c:pt>
                <c:pt idx="390">
                  <c:v>390</c:v>
                </c:pt>
                <c:pt idx="391">
                  <c:v>391</c:v>
                </c:pt>
                <c:pt idx="392">
                  <c:v>392</c:v>
                </c:pt>
                <c:pt idx="393">
                  <c:v>393</c:v>
                </c:pt>
                <c:pt idx="394">
                  <c:v>394</c:v>
                </c:pt>
                <c:pt idx="395">
                  <c:v>395</c:v>
                </c:pt>
                <c:pt idx="396">
                  <c:v>396</c:v>
                </c:pt>
                <c:pt idx="397">
                  <c:v>397</c:v>
                </c:pt>
                <c:pt idx="398">
                  <c:v>398</c:v>
                </c:pt>
                <c:pt idx="399">
                  <c:v>399</c:v>
                </c:pt>
                <c:pt idx="400">
                  <c:v>400</c:v>
                </c:pt>
                <c:pt idx="401">
                  <c:v>401</c:v>
                </c:pt>
                <c:pt idx="402">
                  <c:v>402</c:v>
                </c:pt>
                <c:pt idx="403">
                  <c:v>403</c:v>
                </c:pt>
                <c:pt idx="404">
                  <c:v>404</c:v>
                </c:pt>
                <c:pt idx="405">
                  <c:v>405</c:v>
                </c:pt>
                <c:pt idx="406">
                  <c:v>406</c:v>
                </c:pt>
                <c:pt idx="407">
                  <c:v>407</c:v>
                </c:pt>
                <c:pt idx="408">
                  <c:v>408</c:v>
                </c:pt>
                <c:pt idx="409">
                  <c:v>409</c:v>
                </c:pt>
                <c:pt idx="410">
                  <c:v>410</c:v>
                </c:pt>
                <c:pt idx="411">
                  <c:v>411</c:v>
                </c:pt>
                <c:pt idx="412">
                  <c:v>412</c:v>
                </c:pt>
                <c:pt idx="413">
                  <c:v>413</c:v>
                </c:pt>
                <c:pt idx="414">
                  <c:v>414</c:v>
                </c:pt>
                <c:pt idx="415">
                  <c:v>415</c:v>
                </c:pt>
                <c:pt idx="416">
                  <c:v>416</c:v>
                </c:pt>
                <c:pt idx="417">
                  <c:v>417</c:v>
                </c:pt>
                <c:pt idx="418">
                  <c:v>418</c:v>
                </c:pt>
                <c:pt idx="419">
                  <c:v>419</c:v>
                </c:pt>
                <c:pt idx="420">
                  <c:v>420</c:v>
                </c:pt>
                <c:pt idx="421">
                  <c:v>421</c:v>
                </c:pt>
                <c:pt idx="422">
                  <c:v>422</c:v>
                </c:pt>
                <c:pt idx="423">
                  <c:v>423</c:v>
                </c:pt>
                <c:pt idx="424">
                  <c:v>424</c:v>
                </c:pt>
                <c:pt idx="425">
                  <c:v>425</c:v>
                </c:pt>
                <c:pt idx="426">
                  <c:v>426</c:v>
                </c:pt>
                <c:pt idx="427">
                  <c:v>427</c:v>
                </c:pt>
                <c:pt idx="428">
                  <c:v>428</c:v>
                </c:pt>
                <c:pt idx="429">
                  <c:v>429</c:v>
                </c:pt>
                <c:pt idx="430">
                  <c:v>430</c:v>
                </c:pt>
                <c:pt idx="431">
                  <c:v>431</c:v>
                </c:pt>
                <c:pt idx="432">
                  <c:v>432</c:v>
                </c:pt>
                <c:pt idx="433">
                  <c:v>433</c:v>
                </c:pt>
                <c:pt idx="434">
                  <c:v>434</c:v>
                </c:pt>
                <c:pt idx="435">
                  <c:v>435</c:v>
                </c:pt>
                <c:pt idx="436">
                  <c:v>436</c:v>
                </c:pt>
                <c:pt idx="437">
                  <c:v>437</c:v>
                </c:pt>
                <c:pt idx="438">
                  <c:v>438</c:v>
                </c:pt>
                <c:pt idx="439">
                  <c:v>439</c:v>
                </c:pt>
                <c:pt idx="440">
                  <c:v>440</c:v>
                </c:pt>
                <c:pt idx="441">
                  <c:v>441</c:v>
                </c:pt>
                <c:pt idx="442">
                  <c:v>442</c:v>
                </c:pt>
                <c:pt idx="443">
                  <c:v>443</c:v>
                </c:pt>
                <c:pt idx="444">
                  <c:v>444</c:v>
                </c:pt>
                <c:pt idx="445">
                  <c:v>445</c:v>
                </c:pt>
                <c:pt idx="446">
                  <c:v>446</c:v>
                </c:pt>
                <c:pt idx="447">
                  <c:v>447</c:v>
                </c:pt>
                <c:pt idx="448">
                  <c:v>448</c:v>
                </c:pt>
                <c:pt idx="449">
                  <c:v>449</c:v>
                </c:pt>
                <c:pt idx="450">
                  <c:v>450</c:v>
                </c:pt>
                <c:pt idx="451">
                  <c:v>451</c:v>
                </c:pt>
                <c:pt idx="452">
                  <c:v>452</c:v>
                </c:pt>
                <c:pt idx="453">
                  <c:v>453</c:v>
                </c:pt>
                <c:pt idx="454">
                  <c:v>454</c:v>
                </c:pt>
                <c:pt idx="455">
                  <c:v>455</c:v>
                </c:pt>
                <c:pt idx="456">
                  <c:v>456</c:v>
                </c:pt>
                <c:pt idx="457">
                  <c:v>457</c:v>
                </c:pt>
                <c:pt idx="458">
                  <c:v>458</c:v>
                </c:pt>
                <c:pt idx="459">
                  <c:v>459</c:v>
                </c:pt>
                <c:pt idx="460">
                  <c:v>460</c:v>
                </c:pt>
                <c:pt idx="461">
                  <c:v>461</c:v>
                </c:pt>
                <c:pt idx="462">
                  <c:v>462</c:v>
                </c:pt>
                <c:pt idx="463">
                  <c:v>463</c:v>
                </c:pt>
                <c:pt idx="464">
                  <c:v>464</c:v>
                </c:pt>
                <c:pt idx="465">
                  <c:v>465</c:v>
                </c:pt>
                <c:pt idx="466">
                  <c:v>466</c:v>
                </c:pt>
                <c:pt idx="467">
                  <c:v>467</c:v>
                </c:pt>
                <c:pt idx="468">
                  <c:v>468</c:v>
                </c:pt>
                <c:pt idx="469">
                  <c:v>469</c:v>
                </c:pt>
                <c:pt idx="470">
                  <c:v>470</c:v>
                </c:pt>
                <c:pt idx="471">
                  <c:v>471</c:v>
                </c:pt>
                <c:pt idx="472">
                  <c:v>472</c:v>
                </c:pt>
                <c:pt idx="473">
                  <c:v>473</c:v>
                </c:pt>
                <c:pt idx="474">
                  <c:v>474</c:v>
                </c:pt>
                <c:pt idx="475">
                  <c:v>475</c:v>
                </c:pt>
                <c:pt idx="476">
                  <c:v>476</c:v>
                </c:pt>
                <c:pt idx="477">
                  <c:v>477</c:v>
                </c:pt>
                <c:pt idx="478">
                  <c:v>478</c:v>
                </c:pt>
                <c:pt idx="479">
                  <c:v>479</c:v>
                </c:pt>
                <c:pt idx="480">
                  <c:v>480</c:v>
                </c:pt>
                <c:pt idx="481">
                  <c:v>481</c:v>
                </c:pt>
                <c:pt idx="482">
                  <c:v>482</c:v>
                </c:pt>
                <c:pt idx="483">
                  <c:v>483</c:v>
                </c:pt>
                <c:pt idx="484">
                  <c:v>484</c:v>
                </c:pt>
                <c:pt idx="485">
                  <c:v>485</c:v>
                </c:pt>
                <c:pt idx="486">
                  <c:v>486</c:v>
                </c:pt>
                <c:pt idx="487">
                  <c:v>487</c:v>
                </c:pt>
                <c:pt idx="488">
                  <c:v>488</c:v>
                </c:pt>
                <c:pt idx="489">
                  <c:v>489</c:v>
                </c:pt>
                <c:pt idx="490">
                  <c:v>490</c:v>
                </c:pt>
                <c:pt idx="491">
                  <c:v>491</c:v>
                </c:pt>
                <c:pt idx="492">
                  <c:v>492</c:v>
                </c:pt>
                <c:pt idx="493">
                  <c:v>493</c:v>
                </c:pt>
                <c:pt idx="494">
                  <c:v>494</c:v>
                </c:pt>
                <c:pt idx="495">
                  <c:v>495</c:v>
                </c:pt>
                <c:pt idx="496">
                  <c:v>496</c:v>
                </c:pt>
                <c:pt idx="497">
                  <c:v>497</c:v>
                </c:pt>
                <c:pt idx="498">
                  <c:v>498</c:v>
                </c:pt>
                <c:pt idx="499">
                  <c:v>499</c:v>
                </c:pt>
                <c:pt idx="500">
                  <c:v>500</c:v>
                </c:pt>
                <c:pt idx="501">
                  <c:v>501</c:v>
                </c:pt>
                <c:pt idx="502">
                  <c:v>502</c:v>
                </c:pt>
                <c:pt idx="503">
                  <c:v>503</c:v>
                </c:pt>
                <c:pt idx="504">
                  <c:v>504</c:v>
                </c:pt>
                <c:pt idx="505">
                  <c:v>505</c:v>
                </c:pt>
                <c:pt idx="506">
                  <c:v>506</c:v>
                </c:pt>
                <c:pt idx="507">
                  <c:v>507</c:v>
                </c:pt>
                <c:pt idx="508">
                  <c:v>508</c:v>
                </c:pt>
                <c:pt idx="509">
                  <c:v>509</c:v>
                </c:pt>
                <c:pt idx="510">
                  <c:v>510</c:v>
                </c:pt>
                <c:pt idx="511">
                  <c:v>511</c:v>
                </c:pt>
                <c:pt idx="512">
                  <c:v>512</c:v>
                </c:pt>
                <c:pt idx="513">
                  <c:v>513</c:v>
                </c:pt>
                <c:pt idx="514">
                  <c:v>514</c:v>
                </c:pt>
                <c:pt idx="515">
                  <c:v>515</c:v>
                </c:pt>
                <c:pt idx="516">
                  <c:v>516</c:v>
                </c:pt>
                <c:pt idx="517">
                  <c:v>517</c:v>
                </c:pt>
                <c:pt idx="518">
                  <c:v>518</c:v>
                </c:pt>
                <c:pt idx="519">
                  <c:v>519</c:v>
                </c:pt>
                <c:pt idx="520">
                  <c:v>520</c:v>
                </c:pt>
                <c:pt idx="521">
                  <c:v>521</c:v>
                </c:pt>
                <c:pt idx="522">
                  <c:v>522</c:v>
                </c:pt>
                <c:pt idx="523">
                  <c:v>523</c:v>
                </c:pt>
                <c:pt idx="524">
                  <c:v>524</c:v>
                </c:pt>
                <c:pt idx="525">
                  <c:v>525</c:v>
                </c:pt>
                <c:pt idx="526">
                  <c:v>526</c:v>
                </c:pt>
                <c:pt idx="527">
                  <c:v>527</c:v>
                </c:pt>
                <c:pt idx="528">
                  <c:v>528</c:v>
                </c:pt>
                <c:pt idx="529">
                  <c:v>529</c:v>
                </c:pt>
                <c:pt idx="530">
                  <c:v>530</c:v>
                </c:pt>
                <c:pt idx="531">
                  <c:v>531</c:v>
                </c:pt>
                <c:pt idx="532">
                  <c:v>532</c:v>
                </c:pt>
                <c:pt idx="533">
                  <c:v>533</c:v>
                </c:pt>
                <c:pt idx="534">
                  <c:v>534</c:v>
                </c:pt>
                <c:pt idx="535">
                  <c:v>535</c:v>
                </c:pt>
                <c:pt idx="536">
                  <c:v>536</c:v>
                </c:pt>
                <c:pt idx="537">
                  <c:v>537</c:v>
                </c:pt>
                <c:pt idx="538">
                  <c:v>538</c:v>
                </c:pt>
                <c:pt idx="539">
                  <c:v>539</c:v>
                </c:pt>
                <c:pt idx="540">
                  <c:v>540</c:v>
                </c:pt>
                <c:pt idx="541">
                  <c:v>541</c:v>
                </c:pt>
                <c:pt idx="542">
                  <c:v>542</c:v>
                </c:pt>
                <c:pt idx="543">
                  <c:v>543</c:v>
                </c:pt>
                <c:pt idx="544">
                  <c:v>544</c:v>
                </c:pt>
                <c:pt idx="545">
                  <c:v>545</c:v>
                </c:pt>
                <c:pt idx="546">
                  <c:v>546</c:v>
                </c:pt>
                <c:pt idx="547">
                  <c:v>547</c:v>
                </c:pt>
                <c:pt idx="548">
                  <c:v>548</c:v>
                </c:pt>
                <c:pt idx="549">
                  <c:v>549</c:v>
                </c:pt>
                <c:pt idx="550">
                  <c:v>550</c:v>
                </c:pt>
                <c:pt idx="551">
                  <c:v>551</c:v>
                </c:pt>
                <c:pt idx="552">
                  <c:v>552</c:v>
                </c:pt>
                <c:pt idx="553">
                  <c:v>553</c:v>
                </c:pt>
                <c:pt idx="554">
                  <c:v>554</c:v>
                </c:pt>
                <c:pt idx="555">
                  <c:v>555</c:v>
                </c:pt>
                <c:pt idx="556">
                  <c:v>556</c:v>
                </c:pt>
                <c:pt idx="557">
                  <c:v>557</c:v>
                </c:pt>
                <c:pt idx="558">
                  <c:v>558</c:v>
                </c:pt>
                <c:pt idx="559">
                  <c:v>559</c:v>
                </c:pt>
                <c:pt idx="560">
                  <c:v>560</c:v>
                </c:pt>
                <c:pt idx="561">
                  <c:v>561</c:v>
                </c:pt>
                <c:pt idx="562">
                  <c:v>562</c:v>
                </c:pt>
                <c:pt idx="563">
                  <c:v>563</c:v>
                </c:pt>
                <c:pt idx="564">
                  <c:v>564</c:v>
                </c:pt>
                <c:pt idx="565">
                  <c:v>565</c:v>
                </c:pt>
                <c:pt idx="566">
                  <c:v>566</c:v>
                </c:pt>
                <c:pt idx="567">
                  <c:v>567</c:v>
                </c:pt>
                <c:pt idx="568">
                  <c:v>568</c:v>
                </c:pt>
                <c:pt idx="569">
                  <c:v>569</c:v>
                </c:pt>
                <c:pt idx="570">
                  <c:v>570</c:v>
                </c:pt>
                <c:pt idx="571">
                  <c:v>571</c:v>
                </c:pt>
                <c:pt idx="572">
                  <c:v>572</c:v>
                </c:pt>
                <c:pt idx="573">
                  <c:v>573</c:v>
                </c:pt>
                <c:pt idx="574">
                  <c:v>574</c:v>
                </c:pt>
                <c:pt idx="575">
                  <c:v>575</c:v>
                </c:pt>
                <c:pt idx="576">
                  <c:v>576</c:v>
                </c:pt>
                <c:pt idx="577">
                  <c:v>577</c:v>
                </c:pt>
                <c:pt idx="578">
                  <c:v>578</c:v>
                </c:pt>
                <c:pt idx="579">
                  <c:v>579</c:v>
                </c:pt>
                <c:pt idx="580">
                  <c:v>580</c:v>
                </c:pt>
                <c:pt idx="581">
                  <c:v>581</c:v>
                </c:pt>
                <c:pt idx="582">
                  <c:v>582</c:v>
                </c:pt>
                <c:pt idx="583">
                  <c:v>583</c:v>
                </c:pt>
                <c:pt idx="584">
                  <c:v>584</c:v>
                </c:pt>
                <c:pt idx="585">
                  <c:v>585</c:v>
                </c:pt>
                <c:pt idx="586">
                  <c:v>586</c:v>
                </c:pt>
                <c:pt idx="587">
                  <c:v>587</c:v>
                </c:pt>
                <c:pt idx="588">
                  <c:v>588</c:v>
                </c:pt>
                <c:pt idx="589">
                  <c:v>589</c:v>
                </c:pt>
                <c:pt idx="590">
                  <c:v>590</c:v>
                </c:pt>
                <c:pt idx="591">
                  <c:v>591</c:v>
                </c:pt>
                <c:pt idx="592">
                  <c:v>592</c:v>
                </c:pt>
                <c:pt idx="593">
                  <c:v>593</c:v>
                </c:pt>
                <c:pt idx="594">
                  <c:v>594</c:v>
                </c:pt>
                <c:pt idx="595">
                  <c:v>595</c:v>
                </c:pt>
                <c:pt idx="596">
                  <c:v>596</c:v>
                </c:pt>
                <c:pt idx="597">
                  <c:v>597</c:v>
                </c:pt>
                <c:pt idx="598">
                  <c:v>598</c:v>
                </c:pt>
                <c:pt idx="599">
                  <c:v>599</c:v>
                </c:pt>
                <c:pt idx="600">
                  <c:v>600</c:v>
                </c:pt>
                <c:pt idx="601">
                  <c:v>601</c:v>
                </c:pt>
                <c:pt idx="602">
                  <c:v>602</c:v>
                </c:pt>
                <c:pt idx="603">
                  <c:v>603</c:v>
                </c:pt>
                <c:pt idx="604">
                  <c:v>604</c:v>
                </c:pt>
                <c:pt idx="605">
                  <c:v>605</c:v>
                </c:pt>
                <c:pt idx="606">
                  <c:v>606</c:v>
                </c:pt>
                <c:pt idx="607">
                  <c:v>607</c:v>
                </c:pt>
                <c:pt idx="608">
                  <c:v>608</c:v>
                </c:pt>
                <c:pt idx="609">
                  <c:v>609</c:v>
                </c:pt>
                <c:pt idx="610">
                  <c:v>610</c:v>
                </c:pt>
                <c:pt idx="611">
                  <c:v>611</c:v>
                </c:pt>
                <c:pt idx="612">
                  <c:v>612</c:v>
                </c:pt>
                <c:pt idx="613">
                  <c:v>613</c:v>
                </c:pt>
                <c:pt idx="614">
                  <c:v>614</c:v>
                </c:pt>
                <c:pt idx="615">
                  <c:v>615</c:v>
                </c:pt>
                <c:pt idx="616">
                  <c:v>616</c:v>
                </c:pt>
                <c:pt idx="617">
                  <c:v>617</c:v>
                </c:pt>
                <c:pt idx="618">
                  <c:v>618</c:v>
                </c:pt>
                <c:pt idx="619">
                  <c:v>619</c:v>
                </c:pt>
                <c:pt idx="620">
                  <c:v>620</c:v>
                </c:pt>
                <c:pt idx="621">
                  <c:v>621</c:v>
                </c:pt>
                <c:pt idx="622">
                  <c:v>622</c:v>
                </c:pt>
                <c:pt idx="623">
                  <c:v>623</c:v>
                </c:pt>
                <c:pt idx="624">
                  <c:v>624</c:v>
                </c:pt>
                <c:pt idx="625">
                  <c:v>625</c:v>
                </c:pt>
                <c:pt idx="626">
                  <c:v>626</c:v>
                </c:pt>
                <c:pt idx="627">
                  <c:v>627</c:v>
                </c:pt>
                <c:pt idx="628">
                  <c:v>628</c:v>
                </c:pt>
                <c:pt idx="629">
                  <c:v>629</c:v>
                </c:pt>
                <c:pt idx="630">
                  <c:v>630</c:v>
                </c:pt>
                <c:pt idx="631">
                  <c:v>631</c:v>
                </c:pt>
                <c:pt idx="632">
                  <c:v>632</c:v>
                </c:pt>
                <c:pt idx="633">
                  <c:v>633</c:v>
                </c:pt>
                <c:pt idx="634">
                  <c:v>634</c:v>
                </c:pt>
                <c:pt idx="635">
                  <c:v>635</c:v>
                </c:pt>
                <c:pt idx="636">
                  <c:v>636</c:v>
                </c:pt>
                <c:pt idx="637">
                  <c:v>637</c:v>
                </c:pt>
                <c:pt idx="638">
                  <c:v>638</c:v>
                </c:pt>
                <c:pt idx="639">
                  <c:v>639</c:v>
                </c:pt>
                <c:pt idx="640">
                  <c:v>640</c:v>
                </c:pt>
                <c:pt idx="641">
                  <c:v>641</c:v>
                </c:pt>
                <c:pt idx="642">
                  <c:v>642</c:v>
                </c:pt>
                <c:pt idx="643">
                  <c:v>643</c:v>
                </c:pt>
                <c:pt idx="644">
                  <c:v>644</c:v>
                </c:pt>
                <c:pt idx="645">
                  <c:v>645</c:v>
                </c:pt>
                <c:pt idx="646">
                  <c:v>646</c:v>
                </c:pt>
                <c:pt idx="647">
                  <c:v>647</c:v>
                </c:pt>
                <c:pt idx="648">
                  <c:v>648</c:v>
                </c:pt>
                <c:pt idx="649">
                  <c:v>649</c:v>
                </c:pt>
                <c:pt idx="650">
                  <c:v>650</c:v>
                </c:pt>
                <c:pt idx="651">
                  <c:v>651</c:v>
                </c:pt>
                <c:pt idx="652">
                  <c:v>652</c:v>
                </c:pt>
                <c:pt idx="653">
                  <c:v>653</c:v>
                </c:pt>
                <c:pt idx="654">
                  <c:v>654</c:v>
                </c:pt>
                <c:pt idx="655">
                  <c:v>655</c:v>
                </c:pt>
                <c:pt idx="656">
                  <c:v>656</c:v>
                </c:pt>
                <c:pt idx="657">
                  <c:v>657</c:v>
                </c:pt>
                <c:pt idx="658">
                  <c:v>658</c:v>
                </c:pt>
                <c:pt idx="659">
                  <c:v>659</c:v>
                </c:pt>
                <c:pt idx="660">
                  <c:v>660</c:v>
                </c:pt>
                <c:pt idx="661">
                  <c:v>661</c:v>
                </c:pt>
                <c:pt idx="662">
                  <c:v>662</c:v>
                </c:pt>
                <c:pt idx="663">
                  <c:v>663</c:v>
                </c:pt>
                <c:pt idx="664">
                  <c:v>664</c:v>
                </c:pt>
                <c:pt idx="665">
                  <c:v>665</c:v>
                </c:pt>
                <c:pt idx="666">
                  <c:v>666</c:v>
                </c:pt>
                <c:pt idx="667">
                  <c:v>667</c:v>
                </c:pt>
                <c:pt idx="668">
                  <c:v>668</c:v>
                </c:pt>
                <c:pt idx="669">
                  <c:v>669</c:v>
                </c:pt>
                <c:pt idx="670">
                  <c:v>670</c:v>
                </c:pt>
                <c:pt idx="671">
                  <c:v>671</c:v>
                </c:pt>
                <c:pt idx="672">
                  <c:v>672</c:v>
                </c:pt>
                <c:pt idx="673">
                  <c:v>673</c:v>
                </c:pt>
                <c:pt idx="674">
                  <c:v>674</c:v>
                </c:pt>
                <c:pt idx="675">
                  <c:v>675</c:v>
                </c:pt>
                <c:pt idx="676">
                  <c:v>676</c:v>
                </c:pt>
                <c:pt idx="677">
                  <c:v>677</c:v>
                </c:pt>
                <c:pt idx="678">
                  <c:v>678</c:v>
                </c:pt>
                <c:pt idx="679">
                  <c:v>679</c:v>
                </c:pt>
                <c:pt idx="680">
                  <c:v>680</c:v>
                </c:pt>
                <c:pt idx="681">
                  <c:v>681</c:v>
                </c:pt>
                <c:pt idx="682">
                  <c:v>682</c:v>
                </c:pt>
                <c:pt idx="683">
                  <c:v>683</c:v>
                </c:pt>
                <c:pt idx="684">
                  <c:v>684</c:v>
                </c:pt>
                <c:pt idx="685">
                  <c:v>685</c:v>
                </c:pt>
                <c:pt idx="686">
                  <c:v>686</c:v>
                </c:pt>
                <c:pt idx="687">
                  <c:v>687</c:v>
                </c:pt>
                <c:pt idx="688">
                  <c:v>688</c:v>
                </c:pt>
                <c:pt idx="689">
                  <c:v>689</c:v>
                </c:pt>
                <c:pt idx="690">
                  <c:v>690</c:v>
                </c:pt>
                <c:pt idx="691">
                  <c:v>691</c:v>
                </c:pt>
                <c:pt idx="692">
                  <c:v>692</c:v>
                </c:pt>
                <c:pt idx="693">
                  <c:v>693</c:v>
                </c:pt>
                <c:pt idx="694">
                  <c:v>694</c:v>
                </c:pt>
                <c:pt idx="695">
                  <c:v>695</c:v>
                </c:pt>
                <c:pt idx="696">
                  <c:v>696</c:v>
                </c:pt>
                <c:pt idx="697">
                  <c:v>697</c:v>
                </c:pt>
                <c:pt idx="698">
                  <c:v>698</c:v>
                </c:pt>
                <c:pt idx="699">
                  <c:v>699</c:v>
                </c:pt>
                <c:pt idx="700">
                  <c:v>700</c:v>
                </c:pt>
                <c:pt idx="701">
                  <c:v>701</c:v>
                </c:pt>
                <c:pt idx="702">
                  <c:v>702</c:v>
                </c:pt>
                <c:pt idx="703">
                  <c:v>703</c:v>
                </c:pt>
                <c:pt idx="704">
                  <c:v>704</c:v>
                </c:pt>
                <c:pt idx="705">
                  <c:v>705</c:v>
                </c:pt>
                <c:pt idx="706">
                  <c:v>706</c:v>
                </c:pt>
                <c:pt idx="707">
                  <c:v>707</c:v>
                </c:pt>
                <c:pt idx="708">
                  <c:v>708</c:v>
                </c:pt>
                <c:pt idx="709">
                  <c:v>709</c:v>
                </c:pt>
                <c:pt idx="710">
                  <c:v>710</c:v>
                </c:pt>
                <c:pt idx="711">
                  <c:v>711</c:v>
                </c:pt>
                <c:pt idx="712">
                  <c:v>712</c:v>
                </c:pt>
                <c:pt idx="713">
                  <c:v>713</c:v>
                </c:pt>
                <c:pt idx="714">
                  <c:v>714</c:v>
                </c:pt>
                <c:pt idx="715">
                  <c:v>715</c:v>
                </c:pt>
                <c:pt idx="716">
                  <c:v>716</c:v>
                </c:pt>
                <c:pt idx="717">
                  <c:v>717</c:v>
                </c:pt>
                <c:pt idx="718">
                  <c:v>718</c:v>
                </c:pt>
                <c:pt idx="719">
                  <c:v>719</c:v>
                </c:pt>
                <c:pt idx="720">
                  <c:v>720</c:v>
                </c:pt>
                <c:pt idx="721">
                  <c:v>721</c:v>
                </c:pt>
                <c:pt idx="722">
                  <c:v>722</c:v>
                </c:pt>
                <c:pt idx="723">
                  <c:v>723</c:v>
                </c:pt>
                <c:pt idx="724">
                  <c:v>724</c:v>
                </c:pt>
                <c:pt idx="725">
                  <c:v>725</c:v>
                </c:pt>
                <c:pt idx="726">
                  <c:v>726</c:v>
                </c:pt>
                <c:pt idx="727">
                  <c:v>727</c:v>
                </c:pt>
                <c:pt idx="728">
                  <c:v>728</c:v>
                </c:pt>
                <c:pt idx="729">
                  <c:v>729</c:v>
                </c:pt>
                <c:pt idx="730">
                  <c:v>730</c:v>
                </c:pt>
                <c:pt idx="731">
                  <c:v>731</c:v>
                </c:pt>
                <c:pt idx="732">
                  <c:v>732</c:v>
                </c:pt>
                <c:pt idx="733">
                  <c:v>733</c:v>
                </c:pt>
                <c:pt idx="734">
                  <c:v>734</c:v>
                </c:pt>
                <c:pt idx="735">
                  <c:v>735</c:v>
                </c:pt>
                <c:pt idx="736">
                  <c:v>736</c:v>
                </c:pt>
                <c:pt idx="737">
                  <c:v>737</c:v>
                </c:pt>
                <c:pt idx="738">
                  <c:v>738</c:v>
                </c:pt>
                <c:pt idx="739">
                  <c:v>739</c:v>
                </c:pt>
                <c:pt idx="740">
                  <c:v>740</c:v>
                </c:pt>
                <c:pt idx="741">
                  <c:v>741</c:v>
                </c:pt>
                <c:pt idx="742">
                  <c:v>742</c:v>
                </c:pt>
                <c:pt idx="743">
                  <c:v>743</c:v>
                </c:pt>
                <c:pt idx="744">
                  <c:v>744</c:v>
                </c:pt>
                <c:pt idx="745">
                  <c:v>745</c:v>
                </c:pt>
                <c:pt idx="746">
                  <c:v>746</c:v>
                </c:pt>
                <c:pt idx="747">
                  <c:v>747</c:v>
                </c:pt>
                <c:pt idx="748">
                  <c:v>748</c:v>
                </c:pt>
                <c:pt idx="749">
                  <c:v>749</c:v>
                </c:pt>
                <c:pt idx="750">
                  <c:v>750</c:v>
                </c:pt>
                <c:pt idx="751">
                  <c:v>751</c:v>
                </c:pt>
                <c:pt idx="752">
                  <c:v>752</c:v>
                </c:pt>
                <c:pt idx="753">
                  <c:v>753</c:v>
                </c:pt>
                <c:pt idx="754">
                  <c:v>754</c:v>
                </c:pt>
                <c:pt idx="755">
                  <c:v>755</c:v>
                </c:pt>
                <c:pt idx="756">
                  <c:v>756</c:v>
                </c:pt>
                <c:pt idx="757">
                  <c:v>757</c:v>
                </c:pt>
                <c:pt idx="758">
                  <c:v>758</c:v>
                </c:pt>
                <c:pt idx="759">
                  <c:v>759</c:v>
                </c:pt>
                <c:pt idx="760">
                  <c:v>760</c:v>
                </c:pt>
                <c:pt idx="761">
                  <c:v>761</c:v>
                </c:pt>
                <c:pt idx="762">
                  <c:v>762</c:v>
                </c:pt>
                <c:pt idx="763">
                  <c:v>763</c:v>
                </c:pt>
                <c:pt idx="764">
                  <c:v>764</c:v>
                </c:pt>
                <c:pt idx="765">
                  <c:v>765</c:v>
                </c:pt>
                <c:pt idx="766">
                  <c:v>766</c:v>
                </c:pt>
                <c:pt idx="767">
                  <c:v>767</c:v>
                </c:pt>
                <c:pt idx="768">
                  <c:v>768</c:v>
                </c:pt>
                <c:pt idx="769">
                  <c:v>769</c:v>
                </c:pt>
                <c:pt idx="770">
                  <c:v>770</c:v>
                </c:pt>
                <c:pt idx="771">
                  <c:v>771</c:v>
                </c:pt>
                <c:pt idx="772">
                  <c:v>772</c:v>
                </c:pt>
                <c:pt idx="773">
                  <c:v>773</c:v>
                </c:pt>
                <c:pt idx="774">
                  <c:v>774</c:v>
                </c:pt>
                <c:pt idx="775">
                  <c:v>775</c:v>
                </c:pt>
                <c:pt idx="776">
                  <c:v>776</c:v>
                </c:pt>
                <c:pt idx="777">
                  <c:v>777</c:v>
                </c:pt>
                <c:pt idx="778">
                  <c:v>778</c:v>
                </c:pt>
                <c:pt idx="779">
                  <c:v>779</c:v>
                </c:pt>
                <c:pt idx="780">
                  <c:v>780</c:v>
                </c:pt>
                <c:pt idx="781">
                  <c:v>781</c:v>
                </c:pt>
                <c:pt idx="782">
                  <c:v>782</c:v>
                </c:pt>
                <c:pt idx="783">
                  <c:v>783</c:v>
                </c:pt>
                <c:pt idx="784">
                  <c:v>784</c:v>
                </c:pt>
                <c:pt idx="785">
                  <c:v>785</c:v>
                </c:pt>
                <c:pt idx="786">
                  <c:v>786</c:v>
                </c:pt>
                <c:pt idx="787">
                  <c:v>787</c:v>
                </c:pt>
                <c:pt idx="788">
                  <c:v>788</c:v>
                </c:pt>
                <c:pt idx="789">
                  <c:v>789</c:v>
                </c:pt>
                <c:pt idx="790">
                  <c:v>790</c:v>
                </c:pt>
                <c:pt idx="791">
                  <c:v>791</c:v>
                </c:pt>
                <c:pt idx="792">
                  <c:v>792</c:v>
                </c:pt>
                <c:pt idx="793">
                  <c:v>793</c:v>
                </c:pt>
                <c:pt idx="794">
                  <c:v>794</c:v>
                </c:pt>
                <c:pt idx="795">
                  <c:v>795</c:v>
                </c:pt>
                <c:pt idx="796">
                  <c:v>796</c:v>
                </c:pt>
                <c:pt idx="797">
                  <c:v>797</c:v>
                </c:pt>
                <c:pt idx="798">
                  <c:v>798</c:v>
                </c:pt>
                <c:pt idx="799">
                  <c:v>799</c:v>
                </c:pt>
                <c:pt idx="800">
                  <c:v>800</c:v>
                </c:pt>
                <c:pt idx="801">
                  <c:v>801</c:v>
                </c:pt>
                <c:pt idx="802">
                  <c:v>802</c:v>
                </c:pt>
                <c:pt idx="803">
                  <c:v>803</c:v>
                </c:pt>
                <c:pt idx="804">
                  <c:v>804</c:v>
                </c:pt>
                <c:pt idx="805">
                  <c:v>805</c:v>
                </c:pt>
                <c:pt idx="806">
                  <c:v>806</c:v>
                </c:pt>
                <c:pt idx="807">
                  <c:v>807</c:v>
                </c:pt>
                <c:pt idx="808">
                  <c:v>808</c:v>
                </c:pt>
                <c:pt idx="809">
                  <c:v>809</c:v>
                </c:pt>
                <c:pt idx="810">
                  <c:v>810</c:v>
                </c:pt>
                <c:pt idx="811">
                  <c:v>811</c:v>
                </c:pt>
                <c:pt idx="812">
                  <c:v>812</c:v>
                </c:pt>
                <c:pt idx="813">
                  <c:v>813</c:v>
                </c:pt>
                <c:pt idx="814">
                  <c:v>814</c:v>
                </c:pt>
                <c:pt idx="815">
                  <c:v>815</c:v>
                </c:pt>
                <c:pt idx="816">
                  <c:v>816</c:v>
                </c:pt>
                <c:pt idx="817">
                  <c:v>817</c:v>
                </c:pt>
                <c:pt idx="818">
                  <c:v>818</c:v>
                </c:pt>
                <c:pt idx="819">
                  <c:v>819</c:v>
                </c:pt>
                <c:pt idx="820">
                  <c:v>820</c:v>
                </c:pt>
                <c:pt idx="821">
                  <c:v>821</c:v>
                </c:pt>
                <c:pt idx="822">
                  <c:v>822</c:v>
                </c:pt>
                <c:pt idx="823">
                  <c:v>823</c:v>
                </c:pt>
                <c:pt idx="824">
                  <c:v>824</c:v>
                </c:pt>
                <c:pt idx="825">
                  <c:v>825</c:v>
                </c:pt>
                <c:pt idx="826">
                  <c:v>826</c:v>
                </c:pt>
                <c:pt idx="827">
                  <c:v>827</c:v>
                </c:pt>
                <c:pt idx="828">
                  <c:v>828</c:v>
                </c:pt>
                <c:pt idx="829">
                  <c:v>829</c:v>
                </c:pt>
                <c:pt idx="830">
                  <c:v>830</c:v>
                </c:pt>
                <c:pt idx="831">
                  <c:v>831</c:v>
                </c:pt>
                <c:pt idx="832">
                  <c:v>832</c:v>
                </c:pt>
                <c:pt idx="833">
                  <c:v>833</c:v>
                </c:pt>
                <c:pt idx="834">
                  <c:v>834</c:v>
                </c:pt>
                <c:pt idx="835">
                  <c:v>835</c:v>
                </c:pt>
                <c:pt idx="836">
                  <c:v>836</c:v>
                </c:pt>
                <c:pt idx="837">
                  <c:v>837</c:v>
                </c:pt>
                <c:pt idx="838">
                  <c:v>838</c:v>
                </c:pt>
                <c:pt idx="839">
                  <c:v>839</c:v>
                </c:pt>
                <c:pt idx="840">
                  <c:v>840</c:v>
                </c:pt>
                <c:pt idx="841">
                  <c:v>841</c:v>
                </c:pt>
                <c:pt idx="842">
                  <c:v>842</c:v>
                </c:pt>
                <c:pt idx="843">
                  <c:v>843</c:v>
                </c:pt>
                <c:pt idx="844">
                  <c:v>844</c:v>
                </c:pt>
                <c:pt idx="845">
                  <c:v>845</c:v>
                </c:pt>
                <c:pt idx="846">
                  <c:v>846</c:v>
                </c:pt>
                <c:pt idx="847">
                  <c:v>847</c:v>
                </c:pt>
                <c:pt idx="848">
                  <c:v>848</c:v>
                </c:pt>
                <c:pt idx="849">
                  <c:v>849</c:v>
                </c:pt>
                <c:pt idx="850">
                  <c:v>850</c:v>
                </c:pt>
                <c:pt idx="851">
                  <c:v>851</c:v>
                </c:pt>
                <c:pt idx="852">
                  <c:v>852</c:v>
                </c:pt>
                <c:pt idx="853">
                  <c:v>853</c:v>
                </c:pt>
                <c:pt idx="854">
                  <c:v>854</c:v>
                </c:pt>
                <c:pt idx="855">
                  <c:v>855</c:v>
                </c:pt>
                <c:pt idx="856">
                  <c:v>856</c:v>
                </c:pt>
                <c:pt idx="857">
                  <c:v>857</c:v>
                </c:pt>
                <c:pt idx="858">
                  <c:v>858</c:v>
                </c:pt>
                <c:pt idx="859">
                  <c:v>859</c:v>
                </c:pt>
                <c:pt idx="860">
                  <c:v>860</c:v>
                </c:pt>
                <c:pt idx="861">
                  <c:v>861</c:v>
                </c:pt>
                <c:pt idx="862">
                  <c:v>862</c:v>
                </c:pt>
                <c:pt idx="863">
                  <c:v>863</c:v>
                </c:pt>
                <c:pt idx="864">
                  <c:v>864</c:v>
                </c:pt>
                <c:pt idx="865">
                  <c:v>865</c:v>
                </c:pt>
                <c:pt idx="866">
                  <c:v>866</c:v>
                </c:pt>
                <c:pt idx="867">
                  <c:v>867</c:v>
                </c:pt>
                <c:pt idx="868">
                  <c:v>868</c:v>
                </c:pt>
                <c:pt idx="869">
                  <c:v>869</c:v>
                </c:pt>
                <c:pt idx="870">
                  <c:v>870</c:v>
                </c:pt>
                <c:pt idx="871">
                  <c:v>871</c:v>
                </c:pt>
                <c:pt idx="872">
                  <c:v>872</c:v>
                </c:pt>
                <c:pt idx="873">
                  <c:v>873</c:v>
                </c:pt>
                <c:pt idx="874">
                  <c:v>874</c:v>
                </c:pt>
                <c:pt idx="875">
                  <c:v>875</c:v>
                </c:pt>
                <c:pt idx="876">
                  <c:v>876</c:v>
                </c:pt>
                <c:pt idx="877">
                  <c:v>877</c:v>
                </c:pt>
                <c:pt idx="878">
                  <c:v>878</c:v>
                </c:pt>
                <c:pt idx="879">
                  <c:v>879</c:v>
                </c:pt>
                <c:pt idx="880">
                  <c:v>880</c:v>
                </c:pt>
                <c:pt idx="881">
                  <c:v>881</c:v>
                </c:pt>
                <c:pt idx="882">
                  <c:v>882</c:v>
                </c:pt>
                <c:pt idx="883">
                  <c:v>883</c:v>
                </c:pt>
                <c:pt idx="884">
                  <c:v>884</c:v>
                </c:pt>
                <c:pt idx="885">
                  <c:v>885</c:v>
                </c:pt>
                <c:pt idx="886">
                  <c:v>886</c:v>
                </c:pt>
                <c:pt idx="887">
                  <c:v>887</c:v>
                </c:pt>
                <c:pt idx="888">
                  <c:v>888</c:v>
                </c:pt>
                <c:pt idx="889">
                  <c:v>889</c:v>
                </c:pt>
                <c:pt idx="890">
                  <c:v>890</c:v>
                </c:pt>
                <c:pt idx="891">
                  <c:v>891</c:v>
                </c:pt>
                <c:pt idx="892">
                  <c:v>892</c:v>
                </c:pt>
                <c:pt idx="893">
                  <c:v>893</c:v>
                </c:pt>
                <c:pt idx="894">
                  <c:v>894</c:v>
                </c:pt>
                <c:pt idx="895">
                  <c:v>895</c:v>
                </c:pt>
                <c:pt idx="896">
                  <c:v>896</c:v>
                </c:pt>
                <c:pt idx="897">
                  <c:v>897</c:v>
                </c:pt>
                <c:pt idx="898">
                  <c:v>898</c:v>
                </c:pt>
                <c:pt idx="899">
                  <c:v>899</c:v>
                </c:pt>
                <c:pt idx="900">
                  <c:v>900</c:v>
                </c:pt>
                <c:pt idx="901">
                  <c:v>901</c:v>
                </c:pt>
                <c:pt idx="902">
                  <c:v>902</c:v>
                </c:pt>
                <c:pt idx="903">
                  <c:v>903</c:v>
                </c:pt>
                <c:pt idx="904">
                  <c:v>904</c:v>
                </c:pt>
                <c:pt idx="905">
                  <c:v>905</c:v>
                </c:pt>
                <c:pt idx="906">
                  <c:v>906</c:v>
                </c:pt>
                <c:pt idx="907">
                  <c:v>907</c:v>
                </c:pt>
                <c:pt idx="908">
                  <c:v>908</c:v>
                </c:pt>
                <c:pt idx="909">
                  <c:v>909</c:v>
                </c:pt>
                <c:pt idx="910">
                  <c:v>910</c:v>
                </c:pt>
                <c:pt idx="911">
                  <c:v>911</c:v>
                </c:pt>
                <c:pt idx="912">
                  <c:v>912</c:v>
                </c:pt>
                <c:pt idx="913">
                  <c:v>913</c:v>
                </c:pt>
                <c:pt idx="914">
                  <c:v>914</c:v>
                </c:pt>
                <c:pt idx="915">
                  <c:v>915</c:v>
                </c:pt>
                <c:pt idx="916">
                  <c:v>916</c:v>
                </c:pt>
                <c:pt idx="917">
                  <c:v>917</c:v>
                </c:pt>
                <c:pt idx="918">
                  <c:v>918</c:v>
                </c:pt>
                <c:pt idx="919">
                  <c:v>919</c:v>
                </c:pt>
                <c:pt idx="920">
                  <c:v>920</c:v>
                </c:pt>
                <c:pt idx="921">
                  <c:v>921</c:v>
                </c:pt>
                <c:pt idx="922">
                  <c:v>922</c:v>
                </c:pt>
                <c:pt idx="923">
                  <c:v>923</c:v>
                </c:pt>
                <c:pt idx="924">
                  <c:v>924</c:v>
                </c:pt>
                <c:pt idx="925">
                  <c:v>925</c:v>
                </c:pt>
                <c:pt idx="926">
                  <c:v>926</c:v>
                </c:pt>
                <c:pt idx="927">
                  <c:v>927</c:v>
                </c:pt>
                <c:pt idx="928">
                  <c:v>928</c:v>
                </c:pt>
                <c:pt idx="929">
                  <c:v>929</c:v>
                </c:pt>
                <c:pt idx="930">
                  <c:v>930</c:v>
                </c:pt>
                <c:pt idx="931">
                  <c:v>931</c:v>
                </c:pt>
                <c:pt idx="932">
                  <c:v>932</c:v>
                </c:pt>
                <c:pt idx="933">
                  <c:v>933</c:v>
                </c:pt>
                <c:pt idx="934">
                  <c:v>934</c:v>
                </c:pt>
                <c:pt idx="935">
                  <c:v>935</c:v>
                </c:pt>
                <c:pt idx="936">
                  <c:v>936</c:v>
                </c:pt>
                <c:pt idx="937">
                  <c:v>937</c:v>
                </c:pt>
                <c:pt idx="938">
                  <c:v>938</c:v>
                </c:pt>
                <c:pt idx="939">
                  <c:v>939</c:v>
                </c:pt>
                <c:pt idx="940">
                  <c:v>940</c:v>
                </c:pt>
                <c:pt idx="941">
                  <c:v>941</c:v>
                </c:pt>
                <c:pt idx="942">
                  <c:v>942</c:v>
                </c:pt>
                <c:pt idx="943">
                  <c:v>943</c:v>
                </c:pt>
                <c:pt idx="944">
                  <c:v>944</c:v>
                </c:pt>
                <c:pt idx="945">
                  <c:v>945</c:v>
                </c:pt>
                <c:pt idx="946">
                  <c:v>946</c:v>
                </c:pt>
                <c:pt idx="947">
                  <c:v>947</c:v>
                </c:pt>
                <c:pt idx="948">
                  <c:v>948</c:v>
                </c:pt>
                <c:pt idx="949">
                  <c:v>949</c:v>
                </c:pt>
                <c:pt idx="950">
                  <c:v>950</c:v>
                </c:pt>
                <c:pt idx="951">
                  <c:v>951</c:v>
                </c:pt>
                <c:pt idx="952">
                  <c:v>952</c:v>
                </c:pt>
                <c:pt idx="953">
                  <c:v>953</c:v>
                </c:pt>
                <c:pt idx="954">
                  <c:v>954</c:v>
                </c:pt>
                <c:pt idx="955">
                  <c:v>955</c:v>
                </c:pt>
                <c:pt idx="956">
                  <c:v>956</c:v>
                </c:pt>
                <c:pt idx="957">
                  <c:v>957</c:v>
                </c:pt>
                <c:pt idx="958">
                  <c:v>958</c:v>
                </c:pt>
                <c:pt idx="959">
                  <c:v>959</c:v>
                </c:pt>
                <c:pt idx="960">
                  <c:v>960</c:v>
                </c:pt>
                <c:pt idx="961">
                  <c:v>961</c:v>
                </c:pt>
                <c:pt idx="962">
                  <c:v>962</c:v>
                </c:pt>
                <c:pt idx="963">
                  <c:v>963</c:v>
                </c:pt>
                <c:pt idx="964">
                  <c:v>964</c:v>
                </c:pt>
                <c:pt idx="965">
                  <c:v>965</c:v>
                </c:pt>
                <c:pt idx="966">
                  <c:v>966</c:v>
                </c:pt>
                <c:pt idx="967">
                  <c:v>967</c:v>
                </c:pt>
                <c:pt idx="968">
                  <c:v>968</c:v>
                </c:pt>
                <c:pt idx="969">
                  <c:v>969</c:v>
                </c:pt>
                <c:pt idx="970">
                  <c:v>970</c:v>
                </c:pt>
                <c:pt idx="971">
                  <c:v>971</c:v>
                </c:pt>
                <c:pt idx="972">
                  <c:v>972</c:v>
                </c:pt>
                <c:pt idx="973">
                  <c:v>973</c:v>
                </c:pt>
                <c:pt idx="974">
                  <c:v>974</c:v>
                </c:pt>
                <c:pt idx="975">
                  <c:v>975</c:v>
                </c:pt>
                <c:pt idx="976">
                  <c:v>976</c:v>
                </c:pt>
                <c:pt idx="977">
                  <c:v>977</c:v>
                </c:pt>
                <c:pt idx="978">
                  <c:v>978</c:v>
                </c:pt>
                <c:pt idx="979">
                  <c:v>979</c:v>
                </c:pt>
                <c:pt idx="980">
                  <c:v>980</c:v>
                </c:pt>
                <c:pt idx="981">
                  <c:v>981</c:v>
                </c:pt>
                <c:pt idx="982">
                  <c:v>982</c:v>
                </c:pt>
                <c:pt idx="983">
                  <c:v>983</c:v>
                </c:pt>
                <c:pt idx="984">
                  <c:v>984</c:v>
                </c:pt>
                <c:pt idx="985">
                  <c:v>985</c:v>
                </c:pt>
                <c:pt idx="986">
                  <c:v>986</c:v>
                </c:pt>
                <c:pt idx="987">
                  <c:v>987</c:v>
                </c:pt>
                <c:pt idx="988">
                  <c:v>988</c:v>
                </c:pt>
                <c:pt idx="989">
                  <c:v>989</c:v>
                </c:pt>
                <c:pt idx="990">
                  <c:v>990</c:v>
                </c:pt>
                <c:pt idx="991">
                  <c:v>991</c:v>
                </c:pt>
                <c:pt idx="992">
                  <c:v>992</c:v>
                </c:pt>
                <c:pt idx="993">
                  <c:v>993</c:v>
                </c:pt>
                <c:pt idx="994">
                  <c:v>994</c:v>
                </c:pt>
                <c:pt idx="995">
                  <c:v>995</c:v>
                </c:pt>
                <c:pt idx="996">
                  <c:v>996</c:v>
                </c:pt>
                <c:pt idx="997">
                  <c:v>997</c:v>
                </c:pt>
                <c:pt idx="998">
                  <c:v>998</c:v>
                </c:pt>
                <c:pt idx="999">
                  <c:v>999</c:v>
                </c:pt>
                <c:pt idx="1000">
                  <c:v>1000</c:v>
                </c:pt>
                <c:pt idx="1001">
                  <c:v>1001</c:v>
                </c:pt>
                <c:pt idx="1002">
                  <c:v>1002</c:v>
                </c:pt>
                <c:pt idx="1003">
                  <c:v>1003</c:v>
                </c:pt>
                <c:pt idx="1004">
                  <c:v>1004</c:v>
                </c:pt>
                <c:pt idx="1005">
                  <c:v>1005</c:v>
                </c:pt>
                <c:pt idx="1006">
                  <c:v>1006</c:v>
                </c:pt>
                <c:pt idx="1007">
                  <c:v>1007</c:v>
                </c:pt>
                <c:pt idx="1008">
                  <c:v>1008</c:v>
                </c:pt>
                <c:pt idx="1009">
                  <c:v>1009</c:v>
                </c:pt>
                <c:pt idx="1010">
                  <c:v>1010</c:v>
                </c:pt>
                <c:pt idx="1011">
                  <c:v>1011</c:v>
                </c:pt>
                <c:pt idx="1012">
                  <c:v>1012</c:v>
                </c:pt>
                <c:pt idx="1013">
                  <c:v>1013</c:v>
                </c:pt>
                <c:pt idx="1014">
                  <c:v>1014</c:v>
                </c:pt>
                <c:pt idx="1015">
                  <c:v>1015</c:v>
                </c:pt>
                <c:pt idx="1016">
                  <c:v>1016</c:v>
                </c:pt>
                <c:pt idx="1017">
                  <c:v>1017</c:v>
                </c:pt>
                <c:pt idx="1018">
                  <c:v>1018</c:v>
                </c:pt>
                <c:pt idx="1019">
                  <c:v>1019</c:v>
                </c:pt>
                <c:pt idx="1020">
                  <c:v>1020</c:v>
                </c:pt>
                <c:pt idx="1021">
                  <c:v>1021</c:v>
                </c:pt>
                <c:pt idx="1022">
                  <c:v>1022</c:v>
                </c:pt>
                <c:pt idx="1023">
                  <c:v>1023</c:v>
                </c:pt>
                <c:pt idx="1024">
                  <c:v>1024</c:v>
                </c:pt>
                <c:pt idx="1025">
                  <c:v>1025</c:v>
                </c:pt>
                <c:pt idx="1026">
                  <c:v>1026</c:v>
                </c:pt>
                <c:pt idx="1027">
                  <c:v>1027</c:v>
                </c:pt>
                <c:pt idx="1028">
                  <c:v>1028</c:v>
                </c:pt>
                <c:pt idx="1029">
                  <c:v>1029</c:v>
                </c:pt>
                <c:pt idx="1030">
                  <c:v>1030</c:v>
                </c:pt>
                <c:pt idx="1031">
                  <c:v>1031</c:v>
                </c:pt>
                <c:pt idx="1032">
                  <c:v>1032</c:v>
                </c:pt>
                <c:pt idx="1033">
                  <c:v>1033</c:v>
                </c:pt>
                <c:pt idx="1034">
                  <c:v>1034</c:v>
                </c:pt>
                <c:pt idx="1035">
                  <c:v>1035</c:v>
                </c:pt>
                <c:pt idx="1036">
                  <c:v>1036</c:v>
                </c:pt>
                <c:pt idx="1037">
                  <c:v>1037</c:v>
                </c:pt>
                <c:pt idx="1038">
                  <c:v>1038</c:v>
                </c:pt>
                <c:pt idx="1039">
                  <c:v>1039</c:v>
                </c:pt>
                <c:pt idx="1040">
                  <c:v>1040</c:v>
                </c:pt>
                <c:pt idx="1041">
                  <c:v>1041</c:v>
                </c:pt>
                <c:pt idx="1042">
                  <c:v>1042</c:v>
                </c:pt>
                <c:pt idx="1043">
                  <c:v>1043</c:v>
                </c:pt>
                <c:pt idx="1044">
                  <c:v>1044</c:v>
                </c:pt>
                <c:pt idx="1045">
                  <c:v>1045</c:v>
                </c:pt>
                <c:pt idx="1046">
                  <c:v>1046</c:v>
                </c:pt>
                <c:pt idx="1047">
                  <c:v>1047</c:v>
                </c:pt>
                <c:pt idx="1048">
                  <c:v>1048</c:v>
                </c:pt>
                <c:pt idx="1049">
                  <c:v>1049</c:v>
                </c:pt>
                <c:pt idx="1050">
                  <c:v>1050</c:v>
                </c:pt>
                <c:pt idx="1051">
                  <c:v>1051</c:v>
                </c:pt>
                <c:pt idx="1052">
                  <c:v>1052</c:v>
                </c:pt>
                <c:pt idx="1053">
                  <c:v>1053</c:v>
                </c:pt>
                <c:pt idx="1054">
                  <c:v>1054</c:v>
                </c:pt>
                <c:pt idx="1055">
                  <c:v>1055</c:v>
                </c:pt>
                <c:pt idx="1056">
                  <c:v>1056</c:v>
                </c:pt>
                <c:pt idx="1057">
                  <c:v>1057</c:v>
                </c:pt>
                <c:pt idx="1058">
                  <c:v>1058</c:v>
                </c:pt>
                <c:pt idx="1059">
                  <c:v>1059</c:v>
                </c:pt>
                <c:pt idx="1060">
                  <c:v>1060</c:v>
                </c:pt>
                <c:pt idx="1061">
                  <c:v>1061</c:v>
                </c:pt>
                <c:pt idx="1062">
                  <c:v>1062</c:v>
                </c:pt>
                <c:pt idx="1063">
                  <c:v>1063</c:v>
                </c:pt>
                <c:pt idx="1064">
                  <c:v>1064</c:v>
                </c:pt>
                <c:pt idx="1065">
                  <c:v>1065</c:v>
                </c:pt>
                <c:pt idx="1066">
                  <c:v>1066</c:v>
                </c:pt>
                <c:pt idx="1067">
                  <c:v>1067</c:v>
                </c:pt>
                <c:pt idx="1068">
                  <c:v>1068</c:v>
                </c:pt>
                <c:pt idx="1069">
                  <c:v>1069</c:v>
                </c:pt>
                <c:pt idx="1070">
                  <c:v>1070</c:v>
                </c:pt>
                <c:pt idx="1071">
                  <c:v>1071</c:v>
                </c:pt>
                <c:pt idx="1072">
                  <c:v>1072</c:v>
                </c:pt>
                <c:pt idx="1073">
                  <c:v>1073</c:v>
                </c:pt>
                <c:pt idx="1074">
                  <c:v>1074</c:v>
                </c:pt>
                <c:pt idx="1075">
                  <c:v>1075</c:v>
                </c:pt>
                <c:pt idx="1076">
                  <c:v>1076</c:v>
                </c:pt>
                <c:pt idx="1077">
                  <c:v>1077</c:v>
                </c:pt>
                <c:pt idx="1078">
                  <c:v>1078</c:v>
                </c:pt>
                <c:pt idx="1079">
                  <c:v>1079</c:v>
                </c:pt>
                <c:pt idx="1080">
                  <c:v>1080</c:v>
                </c:pt>
                <c:pt idx="1081">
                  <c:v>1081</c:v>
                </c:pt>
                <c:pt idx="1082">
                  <c:v>1082</c:v>
                </c:pt>
                <c:pt idx="1083">
                  <c:v>1083</c:v>
                </c:pt>
                <c:pt idx="1084">
                  <c:v>1084</c:v>
                </c:pt>
                <c:pt idx="1085">
                  <c:v>1085</c:v>
                </c:pt>
                <c:pt idx="1086">
                  <c:v>1086</c:v>
                </c:pt>
                <c:pt idx="1087">
                  <c:v>1087</c:v>
                </c:pt>
                <c:pt idx="1088">
                  <c:v>1088</c:v>
                </c:pt>
                <c:pt idx="1089">
                  <c:v>1089</c:v>
                </c:pt>
                <c:pt idx="1090">
                  <c:v>1090</c:v>
                </c:pt>
                <c:pt idx="1091">
                  <c:v>1091</c:v>
                </c:pt>
                <c:pt idx="1092">
                  <c:v>1092</c:v>
                </c:pt>
                <c:pt idx="1093">
                  <c:v>1093</c:v>
                </c:pt>
                <c:pt idx="1094">
                  <c:v>1094</c:v>
                </c:pt>
                <c:pt idx="1095">
                  <c:v>1095</c:v>
                </c:pt>
                <c:pt idx="1096">
                  <c:v>1096</c:v>
                </c:pt>
                <c:pt idx="1097">
                  <c:v>1097</c:v>
                </c:pt>
                <c:pt idx="1098">
                  <c:v>1098</c:v>
                </c:pt>
                <c:pt idx="1099">
                  <c:v>1099</c:v>
                </c:pt>
                <c:pt idx="1100">
                  <c:v>1100</c:v>
                </c:pt>
                <c:pt idx="1101">
                  <c:v>1101</c:v>
                </c:pt>
                <c:pt idx="1102">
                  <c:v>1102</c:v>
                </c:pt>
                <c:pt idx="1103">
                  <c:v>1103</c:v>
                </c:pt>
                <c:pt idx="1104">
                  <c:v>1104</c:v>
                </c:pt>
                <c:pt idx="1105">
                  <c:v>1105</c:v>
                </c:pt>
                <c:pt idx="1106">
                  <c:v>1106</c:v>
                </c:pt>
                <c:pt idx="1107">
                  <c:v>1107</c:v>
                </c:pt>
                <c:pt idx="1108">
                  <c:v>1108</c:v>
                </c:pt>
                <c:pt idx="1109">
                  <c:v>1109</c:v>
                </c:pt>
                <c:pt idx="1110">
                  <c:v>1110</c:v>
                </c:pt>
                <c:pt idx="1111">
                  <c:v>1111</c:v>
                </c:pt>
                <c:pt idx="1112">
                  <c:v>1112</c:v>
                </c:pt>
                <c:pt idx="1113">
                  <c:v>1113</c:v>
                </c:pt>
                <c:pt idx="1114">
                  <c:v>1114</c:v>
                </c:pt>
                <c:pt idx="1115">
                  <c:v>1115</c:v>
                </c:pt>
                <c:pt idx="1116">
                  <c:v>1116</c:v>
                </c:pt>
                <c:pt idx="1117">
                  <c:v>1117</c:v>
                </c:pt>
                <c:pt idx="1118">
                  <c:v>1118</c:v>
                </c:pt>
                <c:pt idx="1119">
                  <c:v>1119</c:v>
                </c:pt>
                <c:pt idx="1120">
                  <c:v>1120</c:v>
                </c:pt>
                <c:pt idx="1121">
                  <c:v>1121</c:v>
                </c:pt>
                <c:pt idx="1122">
                  <c:v>1122</c:v>
                </c:pt>
                <c:pt idx="1123">
                  <c:v>1123</c:v>
                </c:pt>
                <c:pt idx="1124">
                  <c:v>1124</c:v>
                </c:pt>
                <c:pt idx="1125">
                  <c:v>1125</c:v>
                </c:pt>
                <c:pt idx="1126">
                  <c:v>1126</c:v>
                </c:pt>
                <c:pt idx="1127">
                  <c:v>1127</c:v>
                </c:pt>
                <c:pt idx="1128">
                  <c:v>1128</c:v>
                </c:pt>
                <c:pt idx="1129">
                  <c:v>1129</c:v>
                </c:pt>
                <c:pt idx="1130">
                  <c:v>1130</c:v>
                </c:pt>
                <c:pt idx="1131">
                  <c:v>1131</c:v>
                </c:pt>
                <c:pt idx="1132">
                  <c:v>1132</c:v>
                </c:pt>
                <c:pt idx="1133">
                  <c:v>1133</c:v>
                </c:pt>
                <c:pt idx="1134">
                  <c:v>1134</c:v>
                </c:pt>
                <c:pt idx="1135">
                  <c:v>1135</c:v>
                </c:pt>
                <c:pt idx="1136">
                  <c:v>1136</c:v>
                </c:pt>
                <c:pt idx="1137">
                  <c:v>1137</c:v>
                </c:pt>
                <c:pt idx="1138">
                  <c:v>1138</c:v>
                </c:pt>
                <c:pt idx="1139">
                  <c:v>1139</c:v>
                </c:pt>
                <c:pt idx="1140">
                  <c:v>1140</c:v>
                </c:pt>
                <c:pt idx="1141">
                  <c:v>1141</c:v>
                </c:pt>
                <c:pt idx="1142">
                  <c:v>1142</c:v>
                </c:pt>
                <c:pt idx="1143">
                  <c:v>1143</c:v>
                </c:pt>
                <c:pt idx="1144">
                  <c:v>1144</c:v>
                </c:pt>
                <c:pt idx="1145">
                  <c:v>1145</c:v>
                </c:pt>
                <c:pt idx="1146">
                  <c:v>1146</c:v>
                </c:pt>
                <c:pt idx="1147">
                  <c:v>1147</c:v>
                </c:pt>
                <c:pt idx="1148">
                  <c:v>1148</c:v>
                </c:pt>
                <c:pt idx="1149">
                  <c:v>1149</c:v>
                </c:pt>
                <c:pt idx="1150">
                  <c:v>1150</c:v>
                </c:pt>
                <c:pt idx="1151">
                  <c:v>1151</c:v>
                </c:pt>
                <c:pt idx="1152">
                  <c:v>1152</c:v>
                </c:pt>
                <c:pt idx="1153">
                  <c:v>1153</c:v>
                </c:pt>
                <c:pt idx="1154">
                  <c:v>1154</c:v>
                </c:pt>
                <c:pt idx="1155">
                  <c:v>1155</c:v>
                </c:pt>
                <c:pt idx="1156">
                  <c:v>1156</c:v>
                </c:pt>
                <c:pt idx="1157">
                  <c:v>1157</c:v>
                </c:pt>
                <c:pt idx="1158">
                  <c:v>1158</c:v>
                </c:pt>
                <c:pt idx="1159">
                  <c:v>1159</c:v>
                </c:pt>
                <c:pt idx="1160">
                  <c:v>1160</c:v>
                </c:pt>
                <c:pt idx="1161">
                  <c:v>1161</c:v>
                </c:pt>
                <c:pt idx="1162">
                  <c:v>1162</c:v>
                </c:pt>
                <c:pt idx="1163">
                  <c:v>1163</c:v>
                </c:pt>
                <c:pt idx="1164">
                  <c:v>1164</c:v>
                </c:pt>
                <c:pt idx="1165">
                  <c:v>1165</c:v>
                </c:pt>
                <c:pt idx="1166">
                  <c:v>1166</c:v>
                </c:pt>
                <c:pt idx="1167">
                  <c:v>1167</c:v>
                </c:pt>
                <c:pt idx="1168">
                  <c:v>1168</c:v>
                </c:pt>
                <c:pt idx="1169">
                  <c:v>1169</c:v>
                </c:pt>
                <c:pt idx="1170">
                  <c:v>1170</c:v>
                </c:pt>
                <c:pt idx="1171">
                  <c:v>1171</c:v>
                </c:pt>
                <c:pt idx="1172">
                  <c:v>1172</c:v>
                </c:pt>
                <c:pt idx="1173">
                  <c:v>1173</c:v>
                </c:pt>
                <c:pt idx="1174">
                  <c:v>1174</c:v>
                </c:pt>
                <c:pt idx="1175">
                  <c:v>1175</c:v>
                </c:pt>
                <c:pt idx="1176">
                  <c:v>1176</c:v>
                </c:pt>
                <c:pt idx="1177">
                  <c:v>1177</c:v>
                </c:pt>
                <c:pt idx="1178">
                  <c:v>1178</c:v>
                </c:pt>
                <c:pt idx="1179">
                  <c:v>1179</c:v>
                </c:pt>
                <c:pt idx="1180">
                  <c:v>1180</c:v>
                </c:pt>
                <c:pt idx="1181">
                  <c:v>1181</c:v>
                </c:pt>
                <c:pt idx="1182">
                  <c:v>1182</c:v>
                </c:pt>
                <c:pt idx="1183">
                  <c:v>1183</c:v>
                </c:pt>
                <c:pt idx="1184">
                  <c:v>1184</c:v>
                </c:pt>
                <c:pt idx="1185">
                  <c:v>1185</c:v>
                </c:pt>
                <c:pt idx="1186">
                  <c:v>1186</c:v>
                </c:pt>
                <c:pt idx="1187">
                  <c:v>1187</c:v>
                </c:pt>
                <c:pt idx="1188">
                  <c:v>1188</c:v>
                </c:pt>
                <c:pt idx="1189">
                  <c:v>1189</c:v>
                </c:pt>
                <c:pt idx="1190">
                  <c:v>1190</c:v>
                </c:pt>
                <c:pt idx="1191">
                  <c:v>1191</c:v>
                </c:pt>
                <c:pt idx="1192">
                  <c:v>1192</c:v>
                </c:pt>
                <c:pt idx="1193">
                  <c:v>1193</c:v>
                </c:pt>
                <c:pt idx="1194">
                  <c:v>1194</c:v>
                </c:pt>
                <c:pt idx="1195">
                  <c:v>1195</c:v>
                </c:pt>
                <c:pt idx="1196">
                  <c:v>1196</c:v>
                </c:pt>
                <c:pt idx="1197">
                  <c:v>1197</c:v>
                </c:pt>
                <c:pt idx="1198">
                  <c:v>1198</c:v>
                </c:pt>
                <c:pt idx="1199">
                  <c:v>1199</c:v>
                </c:pt>
                <c:pt idx="1200">
                  <c:v>1200</c:v>
                </c:pt>
                <c:pt idx="1201">
                  <c:v>1201</c:v>
                </c:pt>
                <c:pt idx="1202">
                  <c:v>1202</c:v>
                </c:pt>
                <c:pt idx="1203">
                  <c:v>1203</c:v>
                </c:pt>
                <c:pt idx="1204">
                  <c:v>1204</c:v>
                </c:pt>
                <c:pt idx="1205">
                  <c:v>1205</c:v>
                </c:pt>
                <c:pt idx="1206">
                  <c:v>1206</c:v>
                </c:pt>
                <c:pt idx="1207">
                  <c:v>1207</c:v>
                </c:pt>
                <c:pt idx="1208">
                  <c:v>1208</c:v>
                </c:pt>
                <c:pt idx="1209">
                  <c:v>1209</c:v>
                </c:pt>
                <c:pt idx="1210">
                  <c:v>1210</c:v>
                </c:pt>
                <c:pt idx="1211">
                  <c:v>1211</c:v>
                </c:pt>
                <c:pt idx="1212">
                  <c:v>1212</c:v>
                </c:pt>
                <c:pt idx="1213">
                  <c:v>1213</c:v>
                </c:pt>
                <c:pt idx="1214">
                  <c:v>1214</c:v>
                </c:pt>
                <c:pt idx="1215">
                  <c:v>1215</c:v>
                </c:pt>
                <c:pt idx="1216">
                  <c:v>1216</c:v>
                </c:pt>
                <c:pt idx="1217">
                  <c:v>1217</c:v>
                </c:pt>
                <c:pt idx="1218">
                  <c:v>1218</c:v>
                </c:pt>
                <c:pt idx="1219">
                  <c:v>1219</c:v>
                </c:pt>
                <c:pt idx="1220">
                  <c:v>1220</c:v>
                </c:pt>
                <c:pt idx="1221">
                  <c:v>1221</c:v>
                </c:pt>
                <c:pt idx="1222">
                  <c:v>1222</c:v>
                </c:pt>
                <c:pt idx="1223">
                  <c:v>1223</c:v>
                </c:pt>
                <c:pt idx="1224">
                  <c:v>1224</c:v>
                </c:pt>
                <c:pt idx="1225">
                  <c:v>1225</c:v>
                </c:pt>
                <c:pt idx="1226">
                  <c:v>1226</c:v>
                </c:pt>
                <c:pt idx="1227">
                  <c:v>1227</c:v>
                </c:pt>
                <c:pt idx="1228">
                  <c:v>1228</c:v>
                </c:pt>
                <c:pt idx="1229">
                  <c:v>1229</c:v>
                </c:pt>
                <c:pt idx="1230">
                  <c:v>1230</c:v>
                </c:pt>
                <c:pt idx="1231">
                  <c:v>1231</c:v>
                </c:pt>
                <c:pt idx="1232">
                  <c:v>1232</c:v>
                </c:pt>
                <c:pt idx="1233">
                  <c:v>1233</c:v>
                </c:pt>
                <c:pt idx="1234">
                  <c:v>1234</c:v>
                </c:pt>
                <c:pt idx="1235">
                  <c:v>1235</c:v>
                </c:pt>
                <c:pt idx="1236">
                  <c:v>1236</c:v>
                </c:pt>
                <c:pt idx="1237">
                  <c:v>1237</c:v>
                </c:pt>
                <c:pt idx="1238">
                  <c:v>1238</c:v>
                </c:pt>
                <c:pt idx="1239">
                  <c:v>1239</c:v>
                </c:pt>
                <c:pt idx="1240">
                  <c:v>1240</c:v>
                </c:pt>
                <c:pt idx="1241">
                  <c:v>1241</c:v>
                </c:pt>
                <c:pt idx="1242">
                  <c:v>1242</c:v>
                </c:pt>
                <c:pt idx="1243">
                  <c:v>1243</c:v>
                </c:pt>
                <c:pt idx="1244">
                  <c:v>1244</c:v>
                </c:pt>
                <c:pt idx="1245">
                  <c:v>1245</c:v>
                </c:pt>
                <c:pt idx="1246">
                  <c:v>1246</c:v>
                </c:pt>
                <c:pt idx="1247">
                  <c:v>1247</c:v>
                </c:pt>
                <c:pt idx="1248">
                  <c:v>1248</c:v>
                </c:pt>
                <c:pt idx="1249">
                  <c:v>1249</c:v>
                </c:pt>
                <c:pt idx="1250">
                  <c:v>1250</c:v>
                </c:pt>
                <c:pt idx="1251">
                  <c:v>1251</c:v>
                </c:pt>
                <c:pt idx="1252">
                  <c:v>1252</c:v>
                </c:pt>
                <c:pt idx="1253">
                  <c:v>1253</c:v>
                </c:pt>
                <c:pt idx="1254">
                  <c:v>1254</c:v>
                </c:pt>
                <c:pt idx="1255">
                  <c:v>1255</c:v>
                </c:pt>
                <c:pt idx="1256">
                  <c:v>1256</c:v>
                </c:pt>
                <c:pt idx="1257">
                  <c:v>1257</c:v>
                </c:pt>
                <c:pt idx="1258">
                  <c:v>1258</c:v>
                </c:pt>
                <c:pt idx="1259">
                  <c:v>1259</c:v>
                </c:pt>
                <c:pt idx="1260">
                  <c:v>1260</c:v>
                </c:pt>
                <c:pt idx="1261">
                  <c:v>1261</c:v>
                </c:pt>
                <c:pt idx="1262">
                  <c:v>1262</c:v>
                </c:pt>
                <c:pt idx="1263">
                  <c:v>1263</c:v>
                </c:pt>
                <c:pt idx="1264">
                  <c:v>1264</c:v>
                </c:pt>
                <c:pt idx="1265">
                  <c:v>1265</c:v>
                </c:pt>
                <c:pt idx="1266">
                  <c:v>1266</c:v>
                </c:pt>
                <c:pt idx="1267">
                  <c:v>1267</c:v>
                </c:pt>
                <c:pt idx="1268">
                  <c:v>1268</c:v>
                </c:pt>
                <c:pt idx="1269">
                  <c:v>1269</c:v>
                </c:pt>
                <c:pt idx="1270">
                  <c:v>1270</c:v>
                </c:pt>
                <c:pt idx="1271">
                  <c:v>1271</c:v>
                </c:pt>
                <c:pt idx="1272">
                  <c:v>1272</c:v>
                </c:pt>
                <c:pt idx="1273">
                  <c:v>1273</c:v>
                </c:pt>
                <c:pt idx="1274">
                  <c:v>1274</c:v>
                </c:pt>
                <c:pt idx="1275">
                  <c:v>1275</c:v>
                </c:pt>
                <c:pt idx="1276">
                  <c:v>1276</c:v>
                </c:pt>
                <c:pt idx="1277">
                  <c:v>1277</c:v>
                </c:pt>
                <c:pt idx="1278">
                  <c:v>1278</c:v>
                </c:pt>
                <c:pt idx="1279">
                  <c:v>1279</c:v>
                </c:pt>
                <c:pt idx="1280">
                  <c:v>1280</c:v>
                </c:pt>
                <c:pt idx="1281">
                  <c:v>1281</c:v>
                </c:pt>
                <c:pt idx="1282">
                  <c:v>1282</c:v>
                </c:pt>
                <c:pt idx="1283">
                  <c:v>1283</c:v>
                </c:pt>
                <c:pt idx="1284">
                  <c:v>1284</c:v>
                </c:pt>
                <c:pt idx="1285">
                  <c:v>1285</c:v>
                </c:pt>
                <c:pt idx="1286">
                  <c:v>1286</c:v>
                </c:pt>
                <c:pt idx="1287">
                  <c:v>1287</c:v>
                </c:pt>
                <c:pt idx="1288">
                  <c:v>1288</c:v>
                </c:pt>
                <c:pt idx="1289">
                  <c:v>1289</c:v>
                </c:pt>
                <c:pt idx="1290">
                  <c:v>1290</c:v>
                </c:pt>
                <c:pt idx="1291">
                  <c:v>1291</c:v>
                </c:pt>
                <c:pt idx="1292">
                  <c:v>1292</c:v>
                </c:pt>
                <c:pt idx="1293">
                  <c:v>1293</c:v>
                </c:pt>
                <c:pt idx="1294">
                  <c:v>1294</c:v>
                </c:pt>
                <c:pt idx="1295">
                  <c:v>1295</c:v>
                </c:pt>
                <c:pt idx="1296">
                  <c:v>1296</c:v>
                </c:pt>
                <c:pt idx="1297">
                  <c:v>1297</c:v>
                </c:pt>
                <c:pt idx="1298">
                  <c:v>1298</c:v>
                </c:pt>
                <c:pt idx="1299">
                  <c:v>1299</c:v>
                </c:pt>
                <c:pt idx="1300">
                  <c:v>1300</c:v>
                </c:pt>
                <c:pt idx="1301">
                  <c:v>1301</c:v>
                </c:pt>
                <c:pt idx="1302">
                  <c:v>1302</c:v>
                </c:pt>
                <c:pt idx="1303">
                  <c:v>1303</c:v>
                </c:pt>
                <c:pt idx="1304">
                  <c:v>1304</c:v>
                </c:pt>
                <c:pt idx="1305">
                  <c:v>1305</c:v>
                </c:pt>
                <c:pt idx="1306">
                  <c:v>1306</c:v>
                </c:pt>
                <c:pt idx="1307">
                  <c:v>1307</c:v>
                </c:pt>
                <c:pt idx="1308">
                  <c:v>1308</c:v>
                </c:pt>
                <c:pt idx="1309">
                  <c:v>1309</c:v>
                </c:pt>
                <c:pt idx="1310">
                  <c:v>1310</c:v>
                </c:pt>
                <c:pt idx="1311">
                  <c:v>1311</c:v>
                </c:pt>
                <c:pt idx="1312">
                  <c:v>1312</c:v>
                </c:pt>
                <c:pt idx="1313">
                  <c:v>1313</c:v>
                </c:pt>
                <c:pt idx="1314">
                  <c:v>1314</c:v>
                </c:pt>
                <c:pt idx="1315">
                  <c:v>1315</c:v>
                </c:pt>
                <c:pt idx="1316">
                  <c:v>1316</c:v>
                </c:pt>
                <c:pt idx="1317">
                  <c:v>1317</c:v>
                </c:pt>
                <c:pt idx="1318">
                  <c:v>1318</c:v>
                </c:pt>
                <c:pt idx="1319">
                  <c:v>1319</c:v>
                </c:pt>
                <c:pt idx="1320">
                  <c:v>1320</c:v>
                </c:pt>
                <c:pt idx="1321">
                  <c:v>1321</c:v>
                </c:pt>
                <c:pt idx="1322">
                  <c:v>1322</c:v>
                </c:pt>
                <c:pt idx="1323">
                  <c:v>1323</c:v>
                </c:pt>
                <c:pt idx="1324">
                  <c:v>1324</c:v>
                </c:pt>
                <c:pt idx="1325">
                  <c:v>1325</c:v>
                </c:pt>
                <c:pt idx="1326">
                  <c:v>1326</c:v>
                </c:pt>
                <c:pt idx="1327">
                  <c:v>1327</c:v>
                </c:pt>
                <c:pt idx="1328">
                  <c:v>1328</c:v>
                </c:pt>
                <c:pt idx="1329">
                  <c:v>1329</c:v>
                </c:pt>
                <c:pt idx="1330">
                  <c:v>1330</c:v>
                </c:pt>
                <c:pt idx="1331">
                  <c:v>1331</c:v>
                </c:pt>
                <c:pt idx="1332">
                  <c:v>1332</c:v>
                </c:pt>
                <c:pt idx="1333">
                  <c:v>1333</c:v>
                </c:pt>
                <c:pt idx="1334">
                  <c:v>1334</c:v>
                </c:pt>
                <c:pt idx="1335">
                  <c:v>1335</c:v>
                </c:pt>
                <c:pt idx="1336">
                  <c:v>1336</c:v>
                </c:pt>
                <c:pt idx="1337">
                  <c:v>1337</c:v>
                </c:pt>
                <c:pt idx="1338">
                  <c:v>1338</c:v>
                </c:pt>
                <c:pt idx="1339">
                  <c:v>1339</c:v>
                </c:pt>
                <c:pt idx="1340">
                  <c:v>1340</c:v>
                </c:pt>
                <c:pt idx="1341">
                  <c:v>1341</c:v>
                </c:pt>
                <c:pt idx="1342">
                  <c:v>1342</c:v>
                </c:pt>
                <c:pt idx="1343">
                  <c:v>1343</c:v>
                </c:pt>
                <c:pt idx="1344">
                  <c:v>1344</c:v>
                </c:pt>
                <c:pt idx="1345">
                  <c:v>1345</c:v>
                </c:pt>
                <c:pt idx="1346">
                  <c:v>1346</c:v>
                </c:pt>
                <c:pt idx="1347">
                  <c:v>1347</c:v>
                </c:pt>
                <c:pt idx="1348">
                  <c:v>1348</c:v>
                </c:pt>
                <c:pt idx="1349">
                  <c:v>1349</c:v>
                </c:pt>
                <c:pt idx="1350">
                  <c:v>1350</c:v>
                </c:pt>
                <c:pt idx="1351">
                  <c:v>1351</c:v>
                </c:pt>
                <c:pt idx="1352">
                  <c:v>1352</c:v>
                </c:pt>
                <c:pt idx="1353">
                  <c:v>1353</c:v>
                </c:pt>
                <c:pt idx="1354">
                  <c:v>1354</c:v>
                </c:pt>
                <c:pt idx="1355">
                  <c:v>1355</c:v>
                </c:pt>
                <c:pt idx="1356">
                  <c:v>1356</c:v>
                </c:pt>
                <c:pt idx="1357">
                  <c:v>1357</c:v>
                </c:pt>
                <c:pt idx="1358">
                  <c:v>1358</c:v>
                </c:pt>
                <c:pt idx="1359">
                  <c:v>1359</c:v>
                </c:pt>
                <c:pt idx="1360">
                  <c:v>1360</c:v>
                </c:pt>
                <c:pt idx="1361">
                  <c:v>1361</c:v>
                </c:pt>
                <c:pt idx="1362">
                  <c:v>1362</c:v>
                </c:pt>
                <c:pt idx="1363">
                  <c:v>1363</c:v>
                </c:pt>
                <c:pt idx="1364">
                  <c:v>1364</c:v>
                </c:pt>
                <c:pt idx="1365">
                  <c:v>1365</c:v>
                </c:pt>
                <c:pt idx="1366">
                  <c:v>1366</c:v>
                </c:pt>
                <c:pt idx="1367">
                  <c:v>1367</c:v>
                </c:pt>
                <c:pt idx="1368">
                  <c:v>1368</c:v>
                </c:pt>
                <c:pt idx="1369">
                  <c:v>1369</c:v>
                </c:pt>
                <c:pt idx="1370">
                  <c:v>1370</c:v>
                </c:pt>
                <c:pt idx="1371">
                  <c:v>1371</c:v>
                </c:pt>
                <c:pt idx="1372">
                  <c:v>1372</c:v>
                </c:pt>
                <c:pt idx="1373">
                  <c:v>1373</c:v>
                </c:pt>
                <c:pt idx="1374">
                  <c:v>1374</c:v>
                </c:pt>
                <c:pt idx="1375">
                  <c:v>1375</c:v>
                </c:pt>
                <c:pt idx="1376">
                  <c:v>1376</c:v>
                </c:pt>
                <c:pt idx="1377">
                  <c:v>1377</c:v>
                </c:pt>
                <c:pt idx="1378">
                  <c:v>1378</c:v>
                </c:pt>
                <c:pt idx="1379">
                  <c:v>1379</c:v>
                </c:pt>
                <c:pt idx="1380">
                  <c:v>1380</c:v>
                </c:pt>
                <c:pt idx="1381">
                  <c:v>1381</c:v>
                </c:pt>
                <c:pt idx="1382">
                  <c:v>1382</c:v>
                </c:pt>
                <c:pt idx="1383">
                  <c:v>1383</c:v>
                </c:pt>
                <c:pt idx="1384">
                  <c:v>1384</c:v>
                </c:pt>
                <c:pt idx="1385">
                  <c:v>1385</c:v>
                </c:pt>
                <c:pt idx="1386">
                  <c:v>1386</c:v>
                </c:pt>
                <c:pt idx="1387">
                  <c:v>1387</c:v>
                </c:pt>
                <c:pt idx="1388">
                  <c:v>1388</c:v>
                </c:pt>
                <c:pt idx="1389">
                  <c:v>1389</c:v>
                </c:pt>
                <c:pt idx="1390">
                  <c:v>1390</c:v>
                </c:pt>
                <c:pt idx="1391">
                  <c:v>1391</c:v>
                </c:pt>
                <c:pt idx="1392">
                  <c:v>1392</c:v>
                </c:pt>
                <c:pt idx="1393">
                  <c:v>1393</c:v>
                </c:pt>
                <c:pt idx="1394">
                  <c:v>1394</c:v>
                </c:pt>
                <c:pt idx="1395">
                  <c:v>1395</c:v>
                </c:pt>
                <c:pt idx="1396">
                  <c:v>1396</c:v>
                </c:pt>
                <c:pt idx="1397">
                  <c:v>1397</c:v>
                </c:pt>
                <c:pt idx="1398">
                  <c:v>1398</c:v>
                </c:pt>
                <c:pt idx="1399">
                  <c:v>1399</c:v>
                </c:pt>
                <c:pt idx="1400">
                  <c:v>1400</c:v>
                </c:pt>
                <c:pt idx="1401">
                  <c:v>1401</c:v>
                </c:pt>
                <c:pt idx="1402">
                  <c:v>1402</c:v>
                </c:pt>
                <c:pt idx="1403">
                  <c:v>1403</c:v>
                </c:pt>
                <c:pt idx="1404">
                  <c:v>1404</c:v>
                </c:pt>
                <c:pt idx="1405">
                  <c:v>1405</c:v>
                </c:pt>
                <c:pt idx="1406">
                  <c:v>1406</c:v>
                </c:pt>
                <c:pt idx="1407">
                  <c:v>1407</c:v>
                </c:pt>
                <c:pt idx="1408">
                  <c:v>1408</c:v>
                </c:pt>
                <c:pt idx="1409">
                  <c:v>1409</c:v>
                </c:pt>
                <c:pt idx="1410">
                  <c:v>1410</c:v>
                </c:pt>
                <c:pt idx="1411">
                  <c:v>1411</c:v>
                </c:pt>
                <c:pt idx="1412">
                  <c:v>1412</c:v>
                </c:pt>
                <c:pt idx="1413">
                  <c:v>1413</c:v>
                </c:pt>
                <c:pt idx="1414">
                  <c:v>1414</c:v>
                </c:pt>
                <c:pt idx="1415">
                  <c:v>1415</c:v>
                </c:pt>
                <c:pt idx="1416">
                  <c:v>1416</c:v>
                </c:pt>
                <c:pt idx="1417">
                  <c:v>1417</c:v>
                </c:pt>
                <c:pt idx="1418">
                  <c:v>1418</c:v>
                </c:pt>
                <c:pt idx="1419">
                  <c:v>1419</c:v>
                </c:pt>
                <c:pt idx="1420">
                  <c:v>1420</c:v>
                </c:pt>
                <c:pt idx="1421">
                  <c:v>1421</c:v>
                </c:pt>
                <c:pt idx="1422">
                  <c:v>1422</c:v>
                </c:pt>
                <c:pt idx="1423">
                  <c:v>1423</c:v>
                </c:pt>
                <c:pt idx="1424">
                  <c:v>1424</c:v>
                </c:pt>
                <c:pt idx="1425">
                  <c:v>1425</c:v>
                </c:pt>
                <c:pt idx="1426">
                  <c:v>1426</c:v>
                </c:pt>
                <c:pt idx="1427">
                  <c:v>1427</c:v>
                </c:pt>
                <c:pt idx="1428">
                  <c:v>1428</c:v>
                </c:pt>
                <c:pt idx="1429">
                  <c:v>1429</c:v>
                </c:pt>
                <c:pt idx="1430">
                  <c:v>1430</c:v>
                </c:pt>
                <c:pt idx="1431">
                  <c:v>1431</c:v>
                </c:pt>
                <c:pt idx="1432">
                  <c:v>1432</c:v>
                </c:pt>
                <c:pt idx="1433">
                  <c:v>1433</c:v>
                </c:pt>
                <c:pt idx="1434">
                  <c:v>1434</c:v>
                </c:pt>
                <c:pt idx="1435">
                  <c:v>1435</c:v>
                </c:pt>
                <c:pt idx="1436">
                  <c:v>1436</c:v>
                </c:pt>
                <c:pt idx="1437">
                  <c:v>1437</c:v>
                </c:pt>
                <c:pt idx="1438">
                  <c:v>1438</c:v>
                </c:pt>
                <c:pt idx="1439">
                  <c:v>1439</c:v>
                </c:pt>
                <c:pt idx="1440">
                  <c:v>1440</c:v>
                </c:pt>
                <c:pt idx="1441">
                  <c:v>1441</c:v>
                </c:pt>
                <c:pt idx="1442">
                  <c:v>1442</c:v>
                </c:pt>
                <c:pt idx="1443">
                  <c:v>1443</c:v>
                </c:pt>
                <c:pt idx="1444">
                  <c:v>1444</c:v>
                </c:pt>
                <c:pt idx="1445">
                  <c:v>1445</c:v>
                </c:pt>
                <c:pt idx="1446">
                  <c:v>1446</c:v>
                </c:pt>
                <c:pt idx="1447">
                  <c:v>1447</c:v>
                </c:pt>
                <c:pt idx="1448">
                  <c:v>1448</c:v>
                </c:pt>
                <c:pt idx="1449">
                  <c:v>1449</c:v>
                </c:pt>
                <c:pt idx="1450">
                  <c:v>1450</c:v>
                </c:pt>
                <c:pt idx="1451">
                  <c:v>1451</c:v>
                </c:pt>
                <c:pt idx="1452">
                  <c:v>1452</c:v>
                </c:pt>
                <c:pt idx="1453">
                  <c:v>1453</c:v>
                </c:pt>
                <c:pt idx="1454">
                  <c:v>1454</c:v>
                </c:pt>
                <c:pt idx="1455">
                  <c:v>1455</c:v>
                </c:pt>
                <c:pt idx="1456">
                  <c:v>1456</c:v>
                </c:pt>
                <c:pt idx="1457">
                  <c:v>1457</c:v>
                </c:pt>
                <c:pt idx="1458">
                  <c:v>1458</c:v>
                </c:pt>
                <c:pt idx="1459">
                  <c:v>1459</c:v>
                </c:pt>
                <c:pt idx="1460">
                  <c:v>1460</c:v>
                </c:pt>
                <c:pt idx="1461">
                  <c:v>1461</c:v>
                </c:pt>
                <c:pt idx="1462">
                  <c:v>1462</c:v>
                </c:pt>
                <c:pt idx="1463">
                  <c:v>1463</c:v>
                </c:pt>
                <c:pt idx="1464">
                  <c:v>1464</c:v>
                </c:pt>
                <c:pt idx="1465">
                  <c:v>1465</c:v>
                </c:pt>
                <c:pt idx="1466">
                  <c:v>1466</c:v>
                </c:pt>
                <c:pt idx="1467">
                  <c:v>1467</c:v>
                </c:pt>
                <c:pt idx="1468">
                  <c:v>1468</c:v>
                </c:pt>
                <c:pt idx="1469">
                  <c:v>1469</c:v>
                </c:pt>
                <c:pt idx="1470">
                  <c:v>1470</c:v>
                </c:pt>
                <c:pt idx="1471">
                  <c:v>1471</c:v>
                </c:pt>
                <c:pt idx="1472">
                  <c:v>1472</c:v>
                </c:pt>
                <c:pt idx="1473">
                  <c:v>1473</c:v>
                </c:pt>
                <c:pt idx="1474">
                  <c:v>1474</c:v>
                </c:pt>
                <c:pt idx="1475">
                  <c:v>1475</c:v>
                </c:pt>
                <c:pt idx="1476">
                  <c:v>1476</c:v>
                </c:pt>
                <c:pt idx="1477">
                  <c:v>1477</c:v>
                </c:pt>
                <c:pt idx="1478">
                  <c:v>1478</c:v>
                </c:pt>
                <c:pt idx="1479">
                  <c:v>1479</c:v>
                </c:pt>
                <c:pt idx="1480">
                  <c:v>1480</c:v>
                </c:pt>
                <c:pt idx="1481">
                  <c:v>1481</c:v>
                </c:pt>
                <c:pt idx="1482">
                  <c:v>1482</c:v>
                </c:pt>
                <c:pt idx="1483">
                  <c:v>1483</c:v>
                </c:pt>
                <c:pt idx="1484">
                  <c:v>1484</c:v>
                </c:pt>
                <c:pt idx="1485">
                  <c:v>1485</c:v>
                </c:pt>
                <c:pt idx="1486">
                  <c:v>1486</c:v>
                </c:pt>
                <c:pt idx="1487">
                  <c:v>1487</c:v>
                </c:pt>
                <c:pt idx="1488">
                  <c:v>1488</c:v>
                </c:pt>
                <c:pt idx="1489">
                  <c:v>1489</c:v>
                </c:pt>
                <c:pt idx="1490">
                  <c:v>1490</c:v>
                </c:pt>
                <c:pt idx="1491">
                  <c:v>1491</c:v>
                </c:pt>
                <c:pt idx="1492">
                  <c:v>1492</c:v>
                </c:pt>
                <c:pt idx="1493">
                  <c:v>1493</c:v>
                </c:pt>
                <c:pt idx="1494">
                  <c:v>1494</c:v>
                </c:pt>
                <c:pt idx="1495">
                  <c:v>1495</c:v>
                </c:pt>
                <c:pt idx="1496">
                  <c:v>1496</c:v>
                </c:pt>
                <c:pt idx="1497">
                  <c:v>1497</c:v>
                </c:pt>
                <c:pt idx="1498">
                  <c:v>1498</c:v>
                </c:pt>
                <c:pt idx="1499">
                  <c:v>1499</c:v>
                </c:pt>
                <c:pt idx="1500">
                  <c:v>1500</c:v>
                </c:pt>
                <c:pt idx="1501">
                  <c:v>1501</c:v>
                </c:pt>
                <c:pt idx="1502">
                  <c:v>1502</c:v>
                </c:pt>
                <c:pt idx="1503">
                  <c:v>1503</c:v>
                </c:pt>
                <c:pt idx="1504">
                  <c:v>1504</c:v>
                </c:pt>
                <c:pt idx="1505">
                  <c:v>1505</c:v>
                </c:pt>
                <c:pt idx="1506">
                  <c:v>1506</c:v>
                </c:pt>
                <c:pt idx="1507">
                  <c:v>1507</c:v>
                </c:pt>
                <c:pt idx="1508">
                  <c:v>1508</c:v>
                </c:pt>
                <c:pt idx="1509">
                  <c:v>1509</c:v>
                </c:pt>
                <c:pt idx="1510">
                  <c:v>1510</c:v>
                </c:pt>
                <c:pt idx="1511">
                  <c:v>1511</c:v>
                </c:pt>
                <c:pt idx="1512">
                  <c:v>1512</c:v>
                </c:pt>
                <c:pt idx="1513">
                  <c:v>1513</c:v>
                </c:pt>
                <c:pt idx="1514">
                  <c:v>1514</c:v>
                </c:pt>
                <c:pt idx="1515">
                  <c:v>1515</c:v>
                </c:pt>
                <c:pt idx="1516">
                  <c:v>1516</c:v>
                </c:pt>
                <c:pt idx="1517">
                  <c:v>1517</c:v>
                </c:pt>
                <c:pt idx="1518">
                  <c:v>1518</c:v>
                </c:pt>
                <c:pt idx="1519">
                  <c:v>1519</c:v>
                </c:pt>
                <c:pt idx="1520">
                  <c:v>1520</c:v>
                </c:pt>
                <c:pt idx="1521">
                  <c:v>1521</c:v>
                </c:pt>
                <c:pt idx="1522">
                  <c:v>1522</c:v>
                </c:pt>
                <c:pt idx="1523">
                  <c:v>1523</c:v>
                </c:pt>
                <c:pt idx="1524">
                  <c:v>1524</c:v>
                </c:pt>
                <c:pt idx="1525">
                  <c:v>1525</c:v>
                </c:pt>
                <c:pt idx="1526">
                  <c:v>1526</c:v>
                </c:pt>
                <c:pt idx="1527">
                  <c:v>1527</c:v>
                </c:pt>
                <c:pt idx="1528">
                  <c:v>1528</c:v>
                </c:pt>
                <c:pt idx="1529">
                  <c:v>1529</c:v>
                </c:pt>
                <c:pt idx="1530">
                  <c:v>1530</c:v>
                </c:pt>
                <c:pt idx="1531">
                  <c:v>1531</c:v>
                </c:pt>
                <c:pt idx="1532">
                  <c:v>1532</c:v>
                </c:pt>
                <c:pt idx="1533">
                  <c:v>1533</c:v>
                </c:pt>
                <c:pt idx="1534">
                  <c:v>1534</c:v>
                </c:pt>
                <c:pt idx="1535">
                  <c:v>1535</c:v>
                </c:pt>
                <c:pt idx="1536">
                  <c:v>1536</c:v>
                </c:pt>
                <c:pt idx="1537">
                  <c:v>1537</c:v>
                </c:pt>
                <c:pt idx="1538">
                  <c:v>1538</c:v>
                </c:pt>
                <c:pt idx="1539">
                  <c:v>1539</c:v>
                </c:pt>
                <c:pt idx="1540">
                  <c:v>1540</c:v>
                </c:pt>
                <c:pt idx="1541">
                  <c:v>1541</c:v>
                </c:pt>
                <c:pt idx="1542">
                  <c:v>1542</c:v>
                </c:pt>
                <c:pt idx="1543">
                  <c:v>1543</c:v>
                </c:pt>
                <c:pt idx="1544">
                  <c:v>1544</c:v>
                </c:pt>
                <c:pt idx="1545">
                  <c:v>1545</c:v>
                </c:pt>
                <c:pt idx="1546">
                  <c:v>1546</c:v>
                </c:pt>
                <c:pt idx="1547">
                  <c:v>1547</c:v>
                </c:pt>
                <c:pt idx="1548">
                  <c:v>1548</c:v>
                </c:pt>
                <c:pt idx="1549">
                  <c:v>1549</c:v>
                </c:pt>
                <c:pt idx="1550">
                  <c:v>1550</c:v>
                </c:pt>
                <c:pt idx="1551">
                  <c:v>1551</c:v>
                </c:pt>
                <c:pt idx="1552">
                  <c:v>1552</c:v>
                </c:pt>
                <c:pt idx="1553">
                  <c:v>1553</c:v>
                </c:pt>
                <c:pt idx="1554">
                  <c:v>1554</c:v>
                </c:pt>
                <c:pt idx="1555">
                  <c:v>1555</c:v>
                </c:pt>
                <c:pt idx="1556">
                  <c:v>1556</c:v>
                </c:pt>
                <c:pt idx="1557">
                  <c:v>1557</c:v>
                </c:pt>
                <c:pt idx="1558">
                  <c:v>1558</c:v>
                </c:pt>
                <c:pt idx="1559">
                  <c:v>1559</c:v>
                </c:pt>
                <c:pt idx="1560">
                  <c:v>1560</c:v>
                </c:pt>
                <c:pt idx="1561">
                  <c:v>1561</c:v>
                </c:pt>
                <c:pt idx="1562">
                  <c:v>1562</c:v>
                </c:pt>
                <c:pt idx="1563">
                  <c:v>1563</c:v>
                </c:pt>
                <c:pt idx="1564">
                  <c:v>1564</c:v>
                </c:pt>
                <c:pt idx="1565">
                  <c:v>1565</c:v>
                </c:pt>
                <c:pt idx="1566">
                  <c:v>1566</c:v>
                </c:pt>
                <c:pt idx="1567">
                  <c:v>1567</c:v>
                </c:pt>
                <c:pt idx="1568">
                  <c:v>1568</c:v>
                </c:pt>
                <c:pt idx="1569">
                  <c:v>1569</c:v>
                </c:pt>
                <c:pt idx="1570">
                  <c:v>1570</c:v>
                </c:pt>
                <c:pt idx="1571">
                  <c:v>1571</c:v>
                </c:pt>
                <c:pt idx="1572">
                  <c:v>1572</c:v>
                </c:pt>
                <c:pt idx="1573">
                  <c:v>1573</c:v>
                </c:pt>
                <c:pt idx="1574">
                  <c:v>1574</c:v>
                </c:pt>
                <c:pt idx="1575">
                  <c:v>1575</c:v>
                </c:pt>
                <c:pt idx="1576">
                  <c:v>1576</c:v>
                </c:pt>
                <c:pt idx="1577">
                  <c:v>1577</c:v>
                </c:pt>
                <c:pt idx="1578">
                  <c:v>1578</c:v>
                </c:pt>
                <c:pt idx="1579">
                  <c:v>1579</c:v>
                </c:pt>
                <c:pt idx="1580">
                  <c:v>1580</c:v>
                </c:pt>
                <c:pt idx="1581">
                  <c:v>1581</c:v>
                </c:pt>
                <c:pt idx="1582">
                  <c:v>1582</c:v>
                </c:pt>
                <c:pt idx="1583">
                  <c:v>1583</c:v>
                </c:pt>
                <c:pt idx="1584">
                  <c:v>1584</c:v>
                </c:pt>
                <c:pt idx="1585">
                  <c:v>1585</c:v>
                </c:pt>
                <c:pt idx="1586">
                  <c:v>1586</c:v>
                </c:pt>
                <c:pt idx="1587">
                  <c:v>1587</c:v>
                </c:pt>
                <c:pt idx="1588">
                  <c:v>1588</c:v>
                </c:pt>
                <c:pt idx="1589">
                  <c:v>1589</c:v>
                </c:pt>
                <c:pt idx="1590">
                  <c:v>1590</c:v>
                </c:pt>
                <c:pt idx="1591">
                  <c:v>1591</c:v>
                </c:pt>
                <c:pt idx="1592">
                  <c:v>1592</c:v>
                </c:pt>
                <c:pt idx="1593">
                  <c:v>1593</c:v>
                </c:pt>
                <c:pt idx="1594">
                  <c:v>1594</c:v>
                </c:pt>
                <c:pt idx="1595">
                  <c:v>1595</c:v>
                </c:pt>
                <c:pt idx="1596">
                  <c:v>1596</c:v>
                </c:pt>
                <c:pt idx="1597">
                  <c:v>1597</c:v>
                </c:pt>
                <c:pt idx="1598">
                  <c:v>1598</c:v>
                </c:pt>
                <c:pt idx="1599">
                  <c:v>1599</c:v>
                </c:pt>
                <c:pt idx="1600">
                  <c:v>1600</c:v>
                </c:pt>
                <c:pt idx="1601">
                  <c:v>1601</c:v>
                </c:pt>
                <c:pt idx="1602">
                  <c:v>1602</c:v>
                </c:pt>
                <c:pt idx="1603">
                  <c:v>1603</c:v>
                </c:pt>
                <c:pt idx="1604">
                  <c:v>1604</c:v>
                </c:pt>
                <c:pt idx="1605">
                  <c:v>1605</c:v>
                </c:pt>
                <c:pt idx="1606">
                  <c:v>1606</c:v>
                </c:pt>
                <c:pt idx="1607">
                  <c:v>1607</c:v>
                </c:pt>
                <c:pt idx="1608">
                  <c:v>1608</c:v>
                </c:pt>
                <c:pt idx="1609">
                  <c:v>1609</c:v>
                </c:pt>
                <c:pt idx="1610">
                  <c:v>1610</c:v>
                </c:pt>
                <c:pt idx="1611">
                  <c:v>1611</c:v>
                </c:pt>
                <c:pt idx="1612">
                  <c:v>1612</c:v>
                </c:pt>
                <c:pt idx="1613">
                  <c:v>1613</c:v>
                </c:pt>
                <c:pt idx="1614">
                  <c:v>1614</c:v>
                </c:pt>
                <c:pt idx="1615">
                  <c:v>1615</c:v>
                </c:pt>
                <c:pt idx="1616">
                  <c:v>1616</c:v>
                </c:pt>
                <c:pt idx="1617">
                  <c:v>1617</c:v>
                </c:pt>
                <c:pt idx="1618">
                  <c:v>1618</c:v>
                </c:pt>
                <c:pt idx="1619">
                  <c:v>1619</c:v>
                </c:pt>
                <c:pt idx="1620">
                  <c:v>1620</c:v>
                </c:pt>
                <c:pt idx="1621">
                  <c:v>1621</c:v>
                </c:pt>
                <c:pt idx="1622">
                  <c:v>1622</c:v>
                </c:pt>
                <c:pt idx="1623">
                  <c:v>1623</c:v>
                </c:pt>
                <c:pt idx="1624">
                  <c:v>1624</c:v>
                </c:pt>
                <c:pt idx="1625">
                  <c:v>1625</c:v>
                </c:pt>
                <c:pt idx="1626">
                  <c:v>1626</c:v>
                </c:pt>
                <c:pt idx="1627">
                  <c:v>1627</c:v>
                </c:pt>
                <c:pt idx="1628">
                  <c:v>1628</c:v>
                </c:pt>
                <c:pt idx="1629">
                  <c:v>1629</c:v>
                </c:pt>
                <c:pt idx="1630">
                  <c:v>1630</c:v>
                </c:pt>
                <c:pt idx="1631">
                  <c:v>1631</c:v>
                </c:pt>
                <c:pt idx="1632">
                  <c:v>1632</c:v>
                </c:pt>
                <c:pt idx="1633">
                  <c:v>1633</c:v>
                </c:pt>
                <c:pt idx="1634">
                  <c:v>1634</c:v>
                </c:pt>
                <c:pt idx="1635">
                  <c:v>1635</c:v>
                </c:pt>
                <c:pt idx="1636">
                  <c:v>1636</c:v>
                </c:pt>
                <c:pt idx="1637">
                  <c:v>1637</c:v>
                </c:pt>
                <c:pt idx="1638">
                  <c:v>1638</c:v>
                </c:pt>
                <c:pt idx="1639">
                  <c:v>1639</c:v>
                </c:pt>
                <c:pt idx="1640">
                  <c:v>1640</c:v>
                </c:pt>
                <c:pt idx="1641">
                  <c:v>1641</c:v>
                </c:pt>
                <c:pt idx="1642">
                  <c:v>1642</c:v>
                </c:pt>
                <c:pt idx="1643">
                  <c:v>1643</c:v>
                </c:pt>
                <c:pt idx="1644">
                  <c:v>1644</c:v>
                </c:pt>
                <c:pt idx="1645">
                  <c:v>1645</c:v>
                </c:pt>
                <c:pt idx="1646">
                  <c:v>1646</c:v>
                </c:pt>
                <c:pt idx="1647">
                  <c:v>1647</c:v>
                </c:pt>
                <c:pt idx="1648">
                  <c:v>1648</c:v>
                </c:pt>
                <c:pt idx="1649">
                  <c:v>1649</c:v>
                </c:pt>
                <c:pt idx="1650">
                  <c:v>1650</c:v>
                </c:pt>
                <c:pt idx="1651">
                  <c:v>1651</c:v>
                </c:pt>
                <c:pt idx="1652">
                  <c:v>1652</c:v>
                </c:pt>
                <c:pt idx="1653">
                  <c:v>1653</c:v>
                </c:pt>
                <c:pt idx="1654">
                  <c:v>1654</c:v>
                </c:pt>
                <c:pt idx="1655">
                  <c:v>1655</c:v>
                </c:pt>
                <c:pt idx="1656">
                  <c:v>1656</c:v>
                </c:pt>
                <c:pt idx="1657">
                  <c:v>1657</c:v>
                </c:pt>
                <c:pt idx="1658">
                  <c:v>1658</c:v>
                </c:pt>
                <c:pt idx="1659">
                  <c:v>1659</c:v>
                </c:pt>
                <c:pt idx="1660">
                  <c:v>1660</c:v>
                </c:pt>
                <c:pt idx="1661">
                  <c:v>1661</c:v>
                </c:pt>
                <c:pt idx="1662">
                  <c:v>1662</c:v>
                </c:pt>
                <c:pt idx="1663">
                  <c:v>1663</c:v>
                </c:pt>
                <c:pt idx="1664">
                  <c:v>1664</c:v>
                </c:pt>
                <c:pt idx="1665">
                  <c:v>1665</c:v>
                </c:pt>
                <c:pt idx="1666">
                  <c:v>1666</c:v>
                </c:pt>
                <c:pt idx="1667">
                  <c:v>1667</c:v>
                </c:pt>
                <c:pt idx="1668">
                  <c:v>1668</c:v>
                </c:pt>
                <c:pt idx="1669">
                  <c:v>1669</c:v>
                </c:pt>
                <c:pt idx="1670">
                  <c:v>1670</c:v>
                </c:pt>
                <c:pt idx="1671">
                  <c:v>1671</c:v>
                </c:pt>
                <c:pt idx="1672">
                  <c:v>1672</c:v>
                </c:pt>
                <c:pt idx="1673">
                  <c:v>1673</c:v>
                </c:pt>
                <c:pt idx="1674">
                  <c:v>1674</c:v>
                </c:pt>
                <c:pt idx="1675">
                  <c:v>1675</c:v>
                </c:pt>
                <c:pt idx="1676">
                  <c:v>1676</c:v>
                </c:pt>
                <c:pt idx="1677">
                  <c:v>1677</c:v>
                </c:pt>
                <c:pt idx="1678">
                  <c:v>1678</c:v>
                </c:pt>
                <c:pt idx="1679">
                  <c:v>1679</c:v>
                </c:pt>
                <c:pt idx="1680">
                  <c:v>1680</c:v>
                </c:pt>
                <c:pt idx="1681">
                  <c:v>1681</c:v>
                </c:pt>
                <c:pt idx="1682">
                  <c:v>1682</c:v>
                </c:pt>
                <c:pt idx="1683">
                  <c:v>1683</c:v>
                </c:pt>
                <c:pt idx="1684">
                  <c:v>1684</c:v>
                </c:pt>
                <c:pt idx="1685">
                  <c:v>1685</c:v>
                </c:pt>
                <c:pt idx="1686">
                  <c:v>1686</c:v>
                </c:pt>
                <c:pt idx="1687">
                  <c:v>1687</c:v>
                </c:pt>
                <c:pt idx="1688">
                  <c:v>1688</c:v>
                </c:pt>
                <c:pt idx="1689">
                  <c:v>1689</c:v>
                </c:pt>
                <c:pt idx="1690">
                  <c:v>1690</c:v>
                </c:pt>
                <c:pt idx="1691">
                  <c:v>1691</c:v>
                </c:pt>
                <c:pt idx="1692">
                  <c:v>1692</c:v>
                </c:pt>
                <c:pt idx="1693">
                  <c:v>1693</c:v>
                </c:pt>
                <c:pt idx="1694">
                  <c:v>1694</c:v>
                </c:pt>
                <c:pt idx="1695">
                  <c:v>1695</c:v>
                </c:pt>
                <c:pt idx="1696">
                  <c:v>1696</c:v>
                </c:pt>
                <c:pt idx="1697">
                  <c:v>1697</c:v>
                </c:pt>
                <c:pt idx="1698">
                  <c:v>1698</c:v>
                </c:pt>
                <c:pt idx="1699">
                  <c:v>1699</c:v>
                </c:pt>
                <c:pt idx="1700">
                  <c:v>1700</c:v>
                </c:pt>
                <c:pt idx="1701">
                  <c:v>1701</c:v>
                </c:pt>
                <c:pt idx="1702">
                  <c:v>1702</c:v>
                </c:pt>
                <c:pt idx="1703">
                  <c:v>1703</c:v>
                </c:pt>
                <c:pt idx="1704">
                  <c:v>1704</c:v>
                </c:pt>
                <c:pt idx="1705">
                  <c:v>1705</c:v>
                </c:pt>
                <c:pt idx="1706">
                  <c:v>1706</c:v>
                </c:pt>
                <c:pt idx="1707">
                  <c:v>1707</c:v>
                </c:pt>
                <c:pt idx="1708">
                  <c:v>1708</c:v>
                </c:pt>
                <c:pt idx="1709">
                  <c:v>1709</c:v>
                </c:pt>
                <c:pt idx="1710">
                  <c:v>1710</c:v>
                </c:pt>
                <c:pt idx="1711">
                  <c:v>1711</c:v>
                </c:pt>
                <c:pt idx="1712">
                  <c:v>1712</c:v>
                </c:pt>
                <c:pt idx="1713">
                  <c:v>1713</c:v>
                </c:pt>
                <c:pt idx="1714">
                  <c:v>1714</c:v>
                </c:pt>
                <c:pt idx="1715">
                  <c:v>1715</c:v>
                </c:pt>
                <c:pt idx="1716">
                  <c:v>1716</c:v>
                </c:pt>
                <c:pt idx="1717">
                  <c:v>1717</c:v>
                </c:pt>
                <c:pt idx="1718">
                  <c:v>1718</c:v>
                </c:pt>
                <c:pt idx="1719">
                  <c:v>1719</c:v>
                </c:pt>
                <c:pt idx="1720">
                  <c:v>1720</c:v>
                </c:pt>
                <c:pt idx="1721">
                  <c:v>1721</c:v>
                </c:pt>
                <c:pt idx="1722">
                  <c:v>1722</c:v>
                </c:pt>
                <c:pt idx="1723">
                  <c:v>1723</c:v>
                </c:pt>
                <c:pt idx="1724">
                  <c:v>1724</c:v>
                </c:pt>
                <c:pt idx="1725">
                  <c:v>1725</c:v>
                </c:pt>
                <c:pt idx="1726">
                  <c:v>1726</c:v>
                </c:pt>
                <c:pt idx="1727">
                  <c:v>1727</c:v>
                </c:pt>
                <c:pt idx="1728">
                  <c:v>1728</c:v>
                </c:pt>
                <c:pt idx="1729">
                  <c:v>1729</c:v>
                </c:pt>
                <c:pt idx="1730">
                  <c:v>1730</c:v>
                </c:pt>
                <c:pt idx="1731">
                  <c:v>1731</c:v>
                </c:pt>
                <c:pt idx="1732">
                  <c:v>1732</c:v>
                </c:pt>
                <c:pt idx="1733">
                  <c:v>1733</c:v>
                </c:pt>
                <c:pt idx="1734">
                  <c:v>1734</c:v>
                </c:pt>
                <c:pt idx="1735">
                  <c:v>1735</c:v>
                </c:pt>
                <c:pt idx="1736">
                  <c:v>1736</c:v>
                </c:pt>
                <c:pt idx="1737">
                  <c:v>1737</c:v>
                </c:pt>
                <c:pt idx="1738">
                  <c:v>1738</c:v>
                </c:pt>
                <c:pt idx="1739">
                  <c:v>1739</c:v>
                </c:pt>
                <c:pt idx="1740">
                  <c:v>1740</c:v>
                </c:pt>
                <c:pt idx="1741">
                  <c:v>1741</c:v>
                </c:pt>
                <c:pt idx="1742">
                  <c:v>1742</c:v>
                </c:pt>
                <c:pt idx="1743">
                  <c:v>1743</c:v>
                </c:pt>
                <c:pt idx="1744">
                  <c:v>1744</c:v>
                </c:pt>
                <c:pt idx="1745">
                  <c:v>1745</c:v>
                </c:pt>
                <c:pt idx="1746">
                  <c:v>1746</c:v>
                </c:pt>
                <c:pt idx="1747">
                  <c:v>1747</c:v>
                </c:pt>
                <c:pt idx="1748">
                  <c:v>1748</c:v>
                </c:pt>
                <c:pt idx="1749">
                  <c:v>1749</c:v>
                </c:pt>
                <c:pt idx="1750">
                  <c:v>1750</c:v>
                </c:pt>
                <c:pt idx="1751">
                  <c:v>1751</c:v>
                </c:pt>
                <c:pt idx="1752">
                  <c:v>1752</c:v>
                </c:pt>
                <c:pt idx="1753">
                  <c:v>1753</c:v>
                </c:pt>
                <c:pt idx="1754">
                  <c:v>1754</c:v>
                </c:pt>
                <c:pt idx="1755">
                  <c:v>1755</c:v>
                </c:pt>
                <c:pt idx="1756">
                  <c:v>1756</c:v>
                </c:pt>
                <c:pt idx="1757">
                  <c:v>1757</c:v>
                </c:pt>
                <c:pt idx="1758">
                  <c:v>1758</c:v>
                </c:pt>
                <c:pt idx="1759">
                  <c:v>1759</c:v>
                </c:pt>
                <c:pt idx="1760">
                  <c:v>1760</c:v>
                </c:pt>
                <c:pt idx="1761">
                  <c:v>1761</c:v>
                </c:pt>
                <c:pt idx="1762">
                  <c:v>1762</c:v>
                </c:pt>
                <c:pt idx="1763">
                  <c:v>1763</c:v>
                </c:pt>
                <c:pt idx="1764">
                  <c:v>1764</c:v>
                </c:pt>
                <c:pt idx="1765">
                  <c:v>1765</c:v>
                </c:pt>
                <c:pt idx="1766">
                  <c:v>1766</c:v>
                </c:pt>
                <c:pt idx="1767">
                  <c:v>1767</c:v>
                </c:pt>
                <c:pt idx="1768">
                  <c:v>1768</c:v>
                </c:pt>
                <c:pt idx="1769">
                  <c:v>1769</c:v>
                </c:pt>
                <c:pt idx="1770">
                  <c:v>1770</c:v>
                </c:pt>
                <c:pt idx="1771">
                  <c:v>1771</c:v>
                </c:pt>
                <c:pt idx="1772">
                  <c:v>1772</c:v>
                </c:pt>
                <c:pt idx="1773">
                  <c:v>1773</c:v>
                </c:pt>
                <c:pt idx="1774">
                  <c:v>1774</c:v>
                </c:pt>
                <c:pt idx="1775">
                  <c:v>1775</c:v>
                </c:pt>
                <c:pt idx="1776">
                  <c:v>1776</c:v>
                </c:pt>
                <c:pt idx="1777">
                  <c:v>1777</c:v>
                </c:pt>
                <c:pt idx="1778">
                  <c:v>1778</c:v>
                </c:pt>
                <c:pt idx="1779">
                  <c:v>1779</c:v>
                </c:pt>
                <c:pt idx="1780">
                  <c:v>1780</c:v>
                </c:pt>
                <c:pt idx="1781">
                  <c:v>1781</c:v>
                </c:pt>
                <c:pt idx="1782">
                  <c:v>1782</c:v>
                </c:pt>
                <c:pt idx="1783">
                  <c:v>1783</c:v>
                </c:pt>
                <c:pt idx="1784">
                  <c:v>1784</c:v>
                </c:pt>
                <c:pt idx="1785">
                  <c:v>1785</c:v>
                </c:pt>
                <c:pt idx="1786">
                  <c:v>1786</c:v>
                </c:pt>
                <c:pt idx="1787">
                  <c:v>1787</c:v>
                </c:pt>
                <c:pt idx="1788">
                  <c:v>1788</c:v>
                </c:pt>
                <c:pt idx="1789">
                  <c:v>1789</c:v>
                </c:pt>
                <c:pt idx="1790">
                  <c:v>1790</c:v>
                </c:pt>
                <c:pt idx="1791">
                  <c:v>1791</c:v>
                </c:pt>
                <c:pt idx="1792">
                  <c:v>1792</c:v>
                </c:pt>
                <c:pt idx="1793">
                  <c:v>1793</c:v>
                </c:pt>
                <c:pt idx="1794">
                  <c:v>1794</c:v>
                </c:pt>
                <c:pt idx="1795">
                  <c:v>1795</c:v>
                </c:pt>
                <c:pt idx="1796">
                  <c:v>1796</c:v>
                </c:pt>
                <c:pt idx="1797">
                  <c:v>1797</c:v>
                </c:pt>
                <c:pt idx="1798">
                  <c:v>1798</c:v>
                </c:pt>
                <c:pt idx="1799">
                  <c:v>1799</c:v>
                </c:pt>
                <c:pt idx="1800">
                  <c:v>1800</c:v>
                </c:pt>
                <c:pt idx="1801">
                  <c:v>1801</c:v>
                </c:pt>
                <c:pt idx="1802">
                  <c:v>1802</c:v>
                </c:pt>
                <c:pt idx="1803">
                  <c:v>1803</c:v>
                </c:pt>
                <c:pt idx="1804">
                  <c:v>1804</c:v>
                </c:pt>
                <c:pt idx="1805">
                  <c:v>1805</c:v>
                </c:pt>
                <c:pt idx="1806">
                  <c:v>1806</c:v>
                </c:pt>
                <c:pt idx="1807">
                  <c:v>1807</c:v>
                </c:pt>
                <c:pt idx="1808">
                  <c:v>1808</c:v>
                </c:pt>
                <c:pt idx="1809">
                  <c:v>1809</c:v>
                </c:pt>
                <c:pt idx="1810">
                  <c:v>1810</c:v>
                </c:pt>
                <c:pt idx="1811">
                  <c:v>1811</c:v>
                </c:pt>
                <c:pt idx="1812">
                  <c:v>1812</c:v>
                </c:pt>
                <c:pt idx="1813">
                  <c:v>1813</c:v>
                </c:pt>
                <c:pt idx="1814">
                  <c:v>1814</c:v>
                </c:pt>
                <c:pt idx="1815">
                  <c:v>1815</c:v>
                </c:pt>
                <c:pt idx="1816">
                  <c:v>1816</c:v>
                </c:pt>
                <c:pt idx="1817">
                  <c:v>1817</c:v>
                </c:pt>
                <c:pt idx="1818">
                  <c:v>1818</c:v>
                </c:pt>
                <c:pt idx="1819">
                  <c:v>1819</c:v>
                </c:pt>
                <c:pt idx="1820">
                  <c:v>1820</c:v>
                </c:pt>
                <c:pt idx="1821">
                  <c:v>1821</c:v>
                </c:pt>
                <c:pt idx="1822">
                  <c:v>1822</c:v>
                </c:pt>
                <c:pt idx="1823">
                  <c:v>1823</c:v>
                </c:pt>
                <c:pt idx="1824">
                  <c:v>1824</c:v>
                </c:pt>
                <c:pt idx="1825">
                  <c:v>1825</c:v>
                </c:pt>
                <c:pt idx="1826">
                  <c:v>1826</c:v>
                </c:pt>
                <c:pt idx="1827">
                  <c:v>1827</c:v>
                </c:pt>
                <c:pt idx="1828">
                  <c:v>1828</c:v>
                </c:pt>
                <c:pt idx="1829">
                  <c:v>1829</c:v>
                </c:pt>
                <c:pt idx="1830">
                  <c:v>1830</c:v>
                </c:pt>
                <c:pt idx="1831">
                  <c:v>1831</c:v>
                </c:pt>
                <c:pt idx="1832">
                  <c:v>1832</c:v>
                </c:pt>
                <c:pt idx="1833">
                  <c:v>1833</c:v>
                </c:pt>
                <c:pt idx="1834">
                  <c:v>1834</c:v>
                </c:pt>
                <c:pt idx="1835">
                  <c:v>1835</c:v>
                </c:pt>
                <c:pt idx="1836">
                  <c:v>1836</c:v>
                </c:pt>
                <c:pt idx="1837">
                  <c:v>1837</c:v>
                </c:pt>
                <c:pt idx="1838">
                  <c:v>1838</c:v>
                </c:pt>
                <c:pt idx="1839">
                  <c:v>1839</c:v>
                </c:pt>
                <c:pt idx="1840">
                  <c:v>1840</c:v>
                </c:pt>
                <c:pt idx="1841">
                  <c:v>1841</c:v>
                </c:pt>
                <c:pt idx="1842">
                  <c:v>1842</c:v>
                </c:pt>
                <c:pt idx="1843">
                  <c:v>1843</c:v>
                </c:pt>
                <c:pt idx="1844">
                  <c:v>1844</c:v>
                </c:pt>
                <c:pt idx="1845">
                  <c:v>1845</c:v>
                </c:pt>
                <c:pt idx="1846">
                  <c:v>1846</c:v>
                </c:pt>
                <c:pt idx="1847">
                  <c:v>1847</c:v>
                </c:pt>
                <c:pt idx="1848">
                  <c:v>1848</c:v>
                </c:pt>
                <c:pt idx="1849">
                  <c:v>1849</c:v>
                </c:pt>
                <c:pt idx="1850">
                  <c:v>1850</c:v>
                </c:pt>
                <c:pt idx="1851">
                  <c:v>1851</c:v>
                </c:pt>
                <c:pt idx="1852">
                  <c:v>1852</c:v>
                </c:pt>
                <c:pt idx="1853">
                  <c:v>1853</c:v>
                </c:pt>
                <c:pt idx="1854">
                  <c:v>1854</c:v>
                </c:pt>
                <c:pt idx="1855">
                  <c:v>1855</c:v>
                </c:pt>
                <c:pt idx="1856">
                  <c:v>1856</c:v>
                </c:pt>
                <c:pt idx="1857">
                  <c:v>1857</c:v>
                </c:pt>
                <c:pt idx="1858">
                  <c:v>1858</c:v>
                </c:pt>
                <c:pt idx="1859">
                  <c:v>1859</c:v>
                </c:pt>
                <c:pt idx="1860">
                  <c:v>1860</c:v>
                </c:pt>
                <c:pt idx="1861">
                  <c:v>1861</c:v>
                </c:pt>
                <c:pt idx="1862">
                  <c:v>1862</c:v>
                </c:pt>
                <c:pt idx="1863">
                  <c:v>1863</c:v>
                </c:pt>
                <c:pt idx="1864">
                  <c:v>1864</c:v>
                </c:pt>
                <c:pt idx="1865">
                  <c:v>1865</c:v>
                </c:pt>
                <c:pt idx="1866">
                  <c:v>1866</c:v>
                </c:pt>
                <c:pt idx="1867">
                  <c:v>1867</c:v>
                </c:pt>
                <c:pt idx="1868">
                  <c:v>1868</c:v>
                </c:pt>
                <c:pt idx="1869">
                  <c:v>1869</c:v>
                </c:pt>
                <c:pt idx="1870">
                  <c:v>1870</c:v>
                </c:pt>
                <c:pt idx="1871">
                  <c:v>1871</c:v>
                </c:pt>
                <c:pt idx="1872">
                  <c:v>1872</c:v>
                </c:pt>
                <c:pt idx="1873">
                  <c:v>1873</c:v>
                </c:pt>
                <c:pt idx="1874">
                  <c:v>1874</c:v>
                </c:pt>
                <c:pt idx="1875">
                  <c:v>1875</c:v>
                </c:pt>
                <c:pt idx="1876">
                  <c:v>1876</c:v>
                </c:pt>
                <c:pt idx="1877">
                  <c:v>1877</c:v>
                </c:pt>
                <c:pt idx="1878">
                  <c:v>1878</c:v>
                </c:pt>
                <c:pt idx="1879">
                  <c:v>1879</c:v>
                </c:pt>
                <c:pt idx="1880">
                  <c:v>1880</c:v>
                </c:pt>
                <c:pt idx="1881">
                  <c:v>1881</c:v>
                </c:pt>
                <c:pt idx="1882">
                  <c:v>1882</c:v>
                </c:pt>
                <c:pt idx="1883">
                  <c:v>1883</c:v>
                </c:pt>
                <c:pt idx="1884">
                  <c:v>1884</c:v>
                </c:pt>
                <c:pt idx="1885">
                  <c:v>1885</c:v>
                </c:pt>
                <c:pt idx="1886">
                  <c:v>1886</c:v>
                </c:pt>
                <c:pt idx="1887">
                  <c:v>1887</c:v>
                </c:pt>
                <c:pt idx="1888">
                  <c:v>1888</c:v>
                </c:pt>
                <c:pt idx="1889">
                  <c:v>1889</c:v>
                </c:pt>
                <c:pt idx="1890">
                  <c:v>1890</c:v>
                </c:pt>
                <c:pt idx="1891">
                  <c:v>1891</c:v>
                </c:pt>
                <c:pt idx="1892">
                  <c:v>1892</c:v>
                </c:pt>
                <c:pt idx="1893">
                  <c:v>1893</c:v>
                </c:pt>
                <c:pt idx="1894">
                  <c:v>1894</c:v>
                </c:pt>
                <c:pt idx="1895">
                  <c:v>1895</c:v>
                </c:pt>
                <c:pt idx="1896">
                  <c:v>1896</c:v>
                </c:pt>
                <c:pt idx="1897">
                  <c:v>1897</c:v>
                </c:pt>
                <c:pt idx="1898">
                  <c:v>1898</c:v>
                </c:pt>
                <c:pt idx="1899">
                  <c:v>1899</c:v>
                </c:pt>
                <c:pt idx="1900">
                  <c:v>1900</c:v>
                </c:pt>
                <c:pt idx="1901">
                  <c:v>1901</c:v>
                </c:pt>
                <c:pt idx="1902">
                  <c:v>1902</c:v>
                </c:pt>
                <c:pt idx="1903">
                  <c:v>1903</c:v>
                </c:pt>
                <c:pt idx="1904">
                  <c:v>1904</c:v>
                </c:pt>
                <c:pt idx="1905">
                  <c:v>1905</c:v>
                </c:pt>
                <c:pt idx="1906">
                  <c:v>1906</c:v>
                </c:pt>
                <c:pt idx="1907">
                  <c:v>1907</c:v>
                </c:pt>
                <c:pt idx="1908">
                  <c:v>1908</c:v>
                </c:pt>
                <c:pt idx="1909">
                  <c:v>1909</c:v>
                </c:pt>
                <c:pt idx="1910">
                  <c:v>1910</c:v>
                </c:pt>
                <c:pt idx="1911">
                  <c:v>1911</c:v>
                </c:pt>
                <c:pt idx="1912">
                  <c:v>1912</c:v>
                </c:pt>
                <c:pt idx="1913">
                  <c:v>1913</c:v>
                </c:pt>
                <c:pt idx="1914">
                  <c:v>1914</c:v>
                </c:pt>
                <c:pt idx="1915">
                  <c:v>1915</c:v>
                </c:pt>
                <c:pt idx="1916">
                  <c:v>1916</c:v>
                </c:pt>
                <c:pt idx="1917">
                  <c:v>1917</c:v>
                </c:pt>
                <c:pt idx="1918">
                  <c:v>1918</c:v>
                </c:pt>
                <c:pt idx="1919">
                  <c:v>1919</c:v>
                </c:pt>
                <c:pt idx="1920">
                  <c:v>1920</c:v>
                </c:pt>
                <c:pt idx="1921">
                  <c:v>1921</c:v>
                </c:pt>
                <c:pt idx="1922">
                  <c:v>1922</c:v>
                </c:pt>
                <c:pt idx="1923">
                  <c:v>1923</c:v>
                </c:pt>
                <c:pt idx="1924">
                  <c:v>1924</c:v>
                </c:pt>
                <c:pt idx="1925">
                  <c:v>1925</c:v>
                </c:pt>
                <c:pt idx="1926">
                  <c:v>1926</c:v>
                </c:pt>
                <c:pt idx="1927">
                  <c:v>1927</c:v>
                </c:pt>
                <c:pt idx="1928">
                  <c:v>1928</c:v>
                </c:pt>
                <c:pt idx="1929">
                  <c:v>1929</c:v>
                </c:pt>
                <c:pt idx="1930">
                  <c:v>1930</c:v>
                </c:pt>
                <c:pt idx="1931">
                  <c:v>1931</c:v>
                </c:pt>
                <c:pt idx="1932">
                  <c:v>1932</c:v>
                </c:pt>
                <c:pt idx="1933">
                  <c:v>1933</c:v>
                </c:pt>
                <c:pt idx="1934">
                  <c:v>1934</c:v>
                </c:pt>
                <c:pt idx="1935">
                  <c:v>1935</c:v>
                </c:pt>
                <c:pt idx="1936">
                  <c:v>1936</c:v>
                </c:pt>
                <c:pt idx="1937">
                  <c:v>1937</c:v>
                </c:pt>
                <c:pt idx="1938">
                  <c:v>1938</c:v>
                </c:pt>
                <c:pt idx="1939">
                  <c:v>1939</c:v>
                </c:pt>
                <c:pt idx="1940">
                  <c:v>1940</c:v>
                </c:pt>
                <c:pt idx="1941">
                  <c:v>1941</c:v>
                </c:pt>
                <c:pt idx="1942">
                  <c:v>1942</c:v>
                </c:pt>
                <c:pt idx="1943">
                  <c:v>1943</c:v>
                </c:pt>
                <c:pt idx="1944">
                  <c:v>1944</c:v>
                </c:pt>
                <c:pt idx="1945">
                  <c:v>1945</c:v>
                </c:pt>
                <c:pt idx="1946">
                  <c:v>1946</c:v>
                </c:pt>
                <c:pt idx="1947">
                  <c:v>1947</c:v>
                </c:pt>
                <c:pt idx="1948">
                  <c:v>1948</c:v>
                </c:pt>
                <c:pt idx="1949">
                  <c:v>1949</c:v>
                </c:pt>
                <c:pt idx="1950">
                  <c:v>1950</c:v>
                </c:pt>
                <c:pt idx="1951">
                  <c:v>1951</c:v>
                </c:pt>
                <c:pt idx="1952">
                  <c:v>1952</c:v>
                </c:pt>
                <c:pt idx="1953">
                  <c:v>1953</c:v>
                </c:pt>
                <c:pt idx="1954">
                  <c:v>1954</c:v>
                </c:pt>
                <c:pt idx="1955">
                  <c:v>1955</c:v>
                </c:pt>
                <c:pt idx="1956">
                  <c:v>1956</c:v>
                </c:pt>
                <c:pt idx="1957">
                  <c:v>1957</c:v>
                </c:pt>
                <c:pt idx="1958">
                  <c:v>1958</c:v>
                </c:pt>
                <c:pt idx="1959">
                  <c:v>1959</c:v>
                </c:pt>
                <c:pt idx="1960">
                  <c:v>1960</c:v>
                </c:pt>
                <c:pt idx="1961">
                  <c:v>1961</c:v>
                </c:pt>
                <c:pt idx="1962">
                  <c:v>1962</c:v>
                </c:pt>
                <c:pt idx="1963">
                  <c:v>1963</c:v>
                </c:pt>
                <c:pt idx="1964">
                  <c:v>1964</c:v>
                </c:pt>
                <c:pt idx="1965">
                  <c:v>1965</c:v>
                </c:pt>
                <c:pt idx="1966">
                  <c:v>1966</c:v>
                </c:pt>
                <c:pt idx="1967">
                  <c:v>1967</c:v>
                </c:pt>
                <c:pt idx="1968">
                  <c:v>1968</c:v>
                </c:pt>
                <c:pt idx="1969">
                  <c:v>1969</c:v>
                </c:pt>
                <c:pt idx="1970">
                  <c:v>1970</c:v>
                </c:pt>
                <c:pt idx="1971">
                  <c:v>1971</c:v>
                </c:pt>
                <c:pt idx="1972">
                  <c:v>1972</c:v>
                </c:pt>
                <c:pt idx="1973">
                  <c:v>1973</c:v>
                </c:pt>
                <c:pt idx="1974">
                  <c:v>1974</c:v>
                </c:pt>
                <c:pt idx="1975">
                  <c:v>1975</c:v>
                </c:pt>
                <c:pt idx="1976">
                  <c:v>1976</c:v>
                </c:pt>
                <c:pt idx="1977">
                  <c:v>1977</c:v>
                </c:pt>
                <c:pt idx="1978">
                  <c:v>1978</c:v>
                </c:pt>
                <c:pt idx="1979">
                  <c:v>1979</c:v>
                </c:pt>
                <c:pt idx="1980">
                  <c:v>1980</c:v>
                </c:pt>
                <c:pt idx="1981">
                  <c:v>1981</c:v>
                </c:pt>
                <c:pt idx="1982">
                  <c:v>1982</c:v>
                </c:pt>
                <c:pt idx="1983">
                  <c:v>1983</c:v>
                </c:pt>
                <c:pt idx="1984">
                  <c:v>1984</c:v>
                </c:pt>
                <c:pt idx="1985">
                  <c:v>1985</c:v>
                </c:pt>
                <c:pt idx="1986">
                  <c:v>1986</c:v>
                </c:pt>
                <c:pt idx="1987">
                  <c:v>1987</c:v>
                </c:pt>
                <c:pt idx="1988">
                  <c:v>1988</c:v>
                </c:pt>
                <c:pt idx="1989">
                  <c:v>1989</c:v>
                </c:pt>
                <c:pt idx="1990">
                  <c:v>1990</c:v>
                </c:pt>
                <c:pt idx="1991">
                  <c:v>1991</c:v>
                </c:pt>
                <c:pt idx="1992">
                  <c:v>1992</c:v>
                </c:pt>
                <c:pt idx="1993">
                  <c:v>1993</c:v>
                </c:pt>
                <c:pt idx="1994">
                  <c:v>1994</c:v>
                </c:pt>
                <c:pt idx="1995">
                  <c:v>1995</c:v>
                </c:pt>
                <c:pt idx="1996">
                  <c:v>1996</c:v>
                </c:pt>
                <c:pt idx="1997">
                  <c:v>1997</c:v>
                </c:pt>
                <c:pt idx="1998">
                  <c:v>1998</c:v>
                </c:pt>
                <c:pt idx="1999">
                  <c:v>1999</c:v>
                </c:pt>
                <c:pt idx="2000">
                  <c:v>2000</c:v>
                </c:pt>
                <c:pt idx="2001">
                  <c:v>2001</c:v>
                </c:pt>
                <c:pt idx="2002">
                  <c:v>2002</c:v>
                </c:pt>
                <c:pt idx="2003">
                  <c:v>2003</c:v>
                </c:pt>
                <c:pt idx="2004">
                  <c:v>2004</c:v>
                </c:pt>
                <c:pt idx="2005">
                  <c:v>2005</c:v>
                </c:pt>
                <c:pt idx="2006">
                  <c:v>2006</c:v>
                </c:pt>
                <c:pt idx="2007">
                  <c:v>2007</c:v>
                </c:pt>
                <c:pt idx="2008">
                  <c:v>2008</c:v>
                </c:pt>
                <c:pt idx="2009">
                  <c:v>2009</c:v>
                </c:pt>
                <c:pt idx="2010">
                  <c:v>2010</c:v>
                </c:pt>
                <c:pt idx="2011">
                  <c:v>2011</c:v>
                </c:pt>
                <c:pt idx="2012">
                  <c:v>2012</c:v>
                </c:pt>
                <c:pt idx="2013">
                  <c:v>2013</c:v>
                </c:pt>
                <c:pt idx="2014">
                  <c:v>2014</c:v>
                </c:pt>
                <c:pt idx="2015">
                  <c:v>2015</c:v>
                </c:pt>
                <c:pt idx="2016">
                  <c:v>2016</c:v>
                </c:pt>
                <c:pt idx="2017">
                  <c:v>2017</c:v>
                </c:pt>
                <c:pt idx="2018">
                  <c:v>2018</c:v>
                </c:pt>
                <c:pt idx="2019">
                  <c:v>2019</c:v>
                </c:pt>
                <c:pt idx="2020">
                  <c:v>2020</c:v>
                </c:pt>
                <c:pt idx="2021">
                  <c:v>2021</c:v>
                </c:pt>
                <c:pt idx="2022">
                  <c:v>2022</c:v>
                </c:pt>
                <c:pt idx="2023">
                  <c:v>2023</c:v>
                </c:pt>
                <c:pt idx="2024">
                  <c:v>2024</c:v>
                </c:pt>
                <c:pt idx="2025">
                  <c:v>2025</c:v>
                </c:pt>
                <c:pt idx="2026">
                  <c:v>2026</c:v>
                </c:pt>
                <c:pt idx="2027">
                  <c:v>2027</c:v>
                </c:pt>
                <c:pt idx="2028">
                  <c:v>2028</c:v>
                </c:pt>
                <c:pt idx="2029">
                  <c:v>2029</c:v>
                </c:pt>
                <c:pt idx="2030">
                  <c:v>2030</c:v>
                </c:pt>
                <c:pt idx="2031">
                  <c:v>2031</c:v>
                </c:pt>
                <c:pt idx="2032">
                  <c:v>2032</c:v>
                </c:pt>
                <c:pt idx="2033">
                  <c:v>2033</c:v>
                </c:pt>
                <c:pt idx="2034">
                  <c:v>2034</c:v>
                </c:pt>
                <c:pt idx="2035">
                  <c:v>2035</c:v>
                </c:pt>
                <c:pt idx="2036">
                  <c:v>2036</c:v>
                </c:pt>
                <c:pt idx="2037">
                  <c:v>2037</c:v>
                </c:pt>
                <c:pt idx="2038">
                  <c:v>2038</c:v>
                </c:pt>
                <c:pt idx="2039">
                  <c:v>2039</c:v>
                </c:pt>
                <c:pt idx="2040">
                  <c:v>2040</c:v>
                </c:pt>
                <c:pt idx="2041">
                  <c:v>2041</c:v>
                </c:pt>
                <c:pt idx="2042">
                  <c:v>2042</c:v>
                </c:pt>
                <c:pt idx="2043">
                  <c:v>2043</c:v>
                </c:pt>
                <c:pt idx="2044">
                  <c:v>2044</c:v>
                </c:pt>
                <c:pt idx="2045">
                  <c:v>2045</c:v>
                </c:pt>
                <c:pt idx="2046">
                  <c:v>2046</c:v>
                </c:pt>
                <c:pt idx="2047">
                  <c:v>2047</c:v>
                </c:pt>
                <c:pt idx="2048">
                  <c:v>2048</c:v>
                </c:pt>
                <c:pt idx="2049">
                  <c:v>2049</c:v>
                </c:pt>
                <c:pt idx="2050">
                  <c:v>2050</c:v>
                </c:pt>
                <c:pt idx="2051">
                  <c:v>2051</c:v>
                </c:pt>
                <c:pt idx="2052">
                  <c:v>2052</c:v>
                </c:pt>
                <c:pt idx="2053">
                  <c:v>2053</c:v>
                </c:pt>
                <c:pt idx="2054">
                  <c:v>2054</c:v>
                </c:pt>
                <c:pt idx="2055">
                  <c:v>2055</c:v>
                </c:pt>
                <c:pt idx="2056">
                  <c:v>2056</c:v>
                </c:pt>
                <c:pt idx="2057">
                  <c:v>2057</c:v>
                </c:pt>
                <c:pt idx="2058">
                  <c:v>2058</c:v>
                </c:pt>
                <c:pt idx="2059">
                  <c:v>2059</c:v>
                </c:pt>
                <c:pt idx="2060">
                  <c:v>2060</c:v>
                </c:pt>
                <c:pt idx="2061">
                  <c:v>2061</c:v>
                </c:pt>
                <c:pt idx="2062">
                  <c:v>2062</c:v>
                </c:pt>
                <c:pt idx="2063">
                  <c:v>2063</c:v>
                </c:pt>
                <c:pt idx="2064">
                  <c:v>2064</c:v>
                </c:pt>
                <c:pt idx="2065">
                  <c:v>2065</c:v>
                </c:pt>
                <c:pt idx="2066">
                  <c:v>2066</c:v>
                </c:pt>
                <c:pt idx="2067">
                  <c:v>2067</c:v>
                </c:pt>
                <c:pt idx="2068">
                  <c:v>2068</c:v>
                </c:pt>
                <c:pt idx="2069">
                  <c:v>2069</c:v>
                </c:pt>
                <c:pt idx="2070">
                  <c:v>2070</c:v>
                </c:pt>
                <c:pt idx="2071">
                  <c:v>2071</c:v>
                </c:pt>
                <c:pt idx="2072">
                  <c:v>2072</c:v>
                </c:pt>
                <c:pt idx="2073">
                  <c:v>2073</c:v>
                </c:pt>
                <c:pt idx="2074">
                  <c:v>2074</c:v>
                </c:pt>
                <c:pt idx="2075">
                  <c:v>2075</c:v>
                </c:pt>
                <c:pt idx="2076">
                  <c:v>2076</c:v>
                </c:pt>
                <c:pt idx="2077">
                  <c:v>2077</c:v>
                </c:pt>
                <c:pt idx="2078">
                  <c:v>2078</c:v>
                </c:pt>
                <c:pt idx="2079">
                  <c:v>2079</c:v>
                </c:pt>
                <c:pt idx="2080">
                  <c:v>2080</c:v>
                </c:pt>
                <c:pt idx="2081">
                  <c:v>2081</c:v>
                </c:pt>
                <c:pt idx="2082">
                  <c:v>2082</c:v>
                </c:pt>
                <c:pt idx="2083">
                  <c:v>2083</c:v>
                </c:pt>
                <c:pt idx="2084">
                  <c:v>2084</c:v>
                </c:pt>
                <c:pt idx="2085">
                  <c:v>2085</c:v>
                </c:pt>
                <c:pt idx="2086">
                  <c:v>2086</c:v>
                </c:pt>
                <c:pt idx="2087">
                  <c:v>2087</c:v>
                </c:pt>
                <c:pt idx="2088">
                  <c:v>2088</c:v>
                </c:pt>
                <c:pt idx="2089">
                  <c:v>2089</c:v>
                </c:pt>
                <c:pt idx="2090">
                  <c:v>2090</c:v>
                </c:pt>
                <c:pt idx="2091">
                  <c:v>2091</c:v>
                </c:pt>
                <c:pt idx="2092">
                  <c:v>2092</c:v>
                </c:pt>
                <c:pt idx="2093">
                  <c:v>2093</c:v>
                </c:pt>
                <c:pt idx="2094">
                  <c:v>2094</c:v>
                </c:pt>
                <c:pt idx="2095">
                  <c:v>2095</c:v>
                </c:pt>
                <c:pt idx="2096">
                  <c:v>2096</c:v>
                </c:pt>
                <c:pt idx="2097">
                  <c:v>2097</c:v>
                </c:pt>
                <c:pt idx="2098">
                  <c:v>2098</c:v>
                </c:pt>
                <c:pt idx="2099">
                  <c:v>2099</c:v>
                </c:pt>
                <c:pt idx="2100">
                  <c:v>2100</c:v>
                </c:pt>
                <c:pt idx="2101">
                  <c:v>2101</c:v>
                </c:pt>
                <c:pt idx="2102">
                  <c:v>2102</c:v>
                </c:pt>
                <c:pt idx="2103">
                  <c:v>2103</c:v>
                </c:pt>
                <c:pt idx="2104">
                  <c:v>2104</c:v>
                </c:pt>
                <c:pt idx="2105">
                  <c:v>2105</c:v>
                </c:pt>
                <c:pt idx="2106">
                  <c:v>2106</c:v>
                </c:pt>
                <c:pt idx="2107">
                  <c:v>2107</c:v>
                </c:pt>
                <c:pt idx="2108">
                  <c:v>2108</c:v>
                </c:pt>
                <c:pt idx="2109">
                  <c:v>2109</c:v>
                </c:pt>
                <c:pt idx="2110">
                  <c:v>2110</c:v>
                </c:pt>
                <c:pt idx="2111">
                  <c:v>2111</c:v>
                </c:pt>
                <c:pt idx="2112">
                  <c:v>2112</c:v>
                </c:pt>
                <c:pt idx="2113">
                  <c:v>2113</c:v>
                </c:pt>
                <c:pt idx="2114">
                  <c:v>2114</c:v>
                </c:pt>
                <c:pt idx="2115">
                  <c:v>2115</c:v>
                </c:pt>
                <c:pt idx="2116">
                  <c:v>2116</c:v>
                </c:pt>
                <c:pt idx="2117">
                  <c:v>2117</c:v>
                </c:pt>
                <c:pt idx="2118">
                  <c:v>2118</c:v>
                </c:pt>
                <c:pt idx="2119">
                  <c:v>2119</c:v>
                </c:pt>
                <c:pt idx="2120">
                  <c:v>2120</c:v>
                </c:pt>
                <c:pt idx="2121">
                  <c:v>2121</c:v>
                </c:pt>
                <c:pt idx="2122">
                  <c:v>2122</c:v>
                </c:pt>
                <c:pt idx="2123">
                  <c:v>2123</c:v>
                </c:pt>
                <c:pt idx="2124">
                  <c:v>2124</c:v>
                </c:pt>
                <c:pt idx="2125">
                  <c:v>2125</c:v>
                </c:pt>
                <c:pt idx="2126">
                  <c:v>2126</c:v>
                </c:pt>
                <c:pt idx="2127">
                  <c:v>2127</c:v>
                </c:pt>
                <c:pt idx="2128">
                  <c:v>2128</c:v>
                </c:pt>
                <c:pt idx="2129">
                  <c:v>2129</c:v>
                </c:pt>
                <c:pt idx="2130">
                  <c:v>2130</c:v>
                </c:pt>
                <c:pt idx="2131">
                  <c:v>2131</c:v>
                </c:pt>
                <c:pt idx="2132">
                  <c:v>2132</c:v>
                </c:pt>
                <c:pt idx="2133">
                  <c:v>2133</c:v>
                </c:pt>
                <c:pt idx="2134">
                  <c:v>2134</c:v>
                </c:pt>
                <c:pt idx="2135">
                  <c:v>2135</c:v>
                </c:pt>
                <c:pt idx="2136">
                  <c:v>2136</c:v>
                </c:pt>
                <c:pt idx="2137">
                  <c:v>2137</c:v>
                </c:pt>
                <c:pt idx="2138">
                  <c:v>2138</c:v>
                </c:pt>
                <c:pt idx="2139">
                  <c:v>2139</c:v>
                </c:pt>
                <c:pt idx="2140">
                  <c:v>2140</c:v>
                </c:pt>
                <c:pt idx="2141">
                  <c:v>2141</c:v>
                </c:pt>
                <c:pt idx="2142">
                  <c:v>2142</c:v>
                </c:pt>
                <c:pt idx="2143">
                  <c:v>2143</c:v>
                </c:pt>
                <c:pt idx="2144">
                  <c:v>2144</c:v>
                </c:pt>
                <c:pt idx="2145">
                  <c:v>2145</c:v>
                </c:pt>
                <c:pt idx="2146">
                  <c:v>2146</c:v>
                </c:pt>
                <c:pt idx="2147">
                  <c:v>2147</c:v>
                </c:pt>
                <c:pt idx="2148">
                  <c:v>2148</c:v>
                </c:pt>
                <c:pt idx="2149">
                  <c:v>2149</c:v>
                </c:pt>
                <c:pt idx="2150">
                  <c:v>2150</c:v>
                </c:pt>
                <c:pt idx="2151">
                  <c:v>2151</c:v>
                </c:pt>
                <c:pt idx="2152">
                  <c:v>2152</c:v>
                </c:pt>
                <c:pt idx="2153">
                  <c:v>2153</c:v>
                </c:pt>
                <c:pt idx="2154">
                  <c:v>2154</c:v>
                </c:pt>
                <c:pt idx="2155">
                  <c:v>2155</c:v>
                </c:pt>
                <c:pt idx="2156">
                  <c:v>2156</c:v>
                </c:pt>
                <c:pt idx="2157">
                  <c:v>2157</c:v>
                </c:pt>
                <c:pt idx="2158">
                  <c:v>2158</c:v>
                </c:pt>
                <c:pt idx="2159">
                  <c:v>2159</c:v>
                </c:pt>
                <c:pt idx="2160">
                  <c:v>2160</c:v>
                </c:pt>
                <c:pt idx="2161">
                  <c:v>2161</c:v>
                </c:pt>
                <c:pt idx="2162">
                  <c:v>2162</c:v>
                </c:pt>
                <c:pt idx="2163">
                  <c:v>2163</c:v>
                </c:pt>
                <c:pt idx="2164">
                  <c:v>2164</c:v>
                </c:pt>
                <c:pt idx="2165">
                  <c:v>2165</c:v>
                </c:pt>
                <c:pt idx="2166">
                  <c:v>2166</c:v>
                </c:pt>
                <c:pt idx="2167">
                  <c:v>2167</c:v>
                </c:pt>
                <c:pt idx="2168">
                  <c:v>2168</c:v>
                </c:pt>
                <c:pt idx="2169">
                  <c:v>2169</c:v>
                </c:pt>
                <c:pt idx="2170">
                  <c:v>2170</c:v>
                </c:pt>
                <c:pt idx="2171">
                  <c:v>2171</c:v>
                </c:pt>
                <c:pt idx="2172">
                  <c:v>2172</c:v>
                </c:pt>
                <c:pt idx="2173">
                  <c:v>2173</c:v>
                </c:pt>
                <c:pt idx="2174">
                  <c:v>2174</c:v>
                </c:pt>
                <c:pt idx="2175">
                  <c:v>2175</c:v>
                </c:pt>
                <c:pt idx="2176">
                  <c:v>2176</c:v>
                </c:pt>
                <c:pt idx="2177">
                  <c:v>2177</c:v>
                </c:pt>
                <c:pt idx="2178">
                  <c:v>2178</c:v>
                </c:pt>
                <c:pt idx="2179">
                  <c:v>2179</c:v>
                </c:pt>
                <c:pt idx="2180">
                  <c:v>2180</c:v>
                </c:pt>
                <c:pt idx="2181">
                  <c:v>2181</c:v>
                </c:pt>
                <c:pt idx="2182">
                  <c:v>2182</c:v>
                </c:pt>
                <c:pt idx="2183">
                  <c:v>2183</c:v>
                </c:pt>
                <c:pt idx="2184">
                  <c:v>2184</c:v>
                </c:pt>
                <c:pt idx="2185">
                  <c:v>2185</c:v>
                </c:pt>
                <c:pt idx="2186">
                  <c:v>2186</c:v>
                </c:pt>
                <c:pt idx="2187">
                  <c:v>2187</c:v>
                </c:pt>
                <c:pt idx="2188">
                  <c:v>2188</c:v>
                </c:pt>
                <c:pt idx="2189">
                  <c:v>2189</c:v>
                </c:pt>
                <c:pt idx="2190">
                  <c:v>2190</c:v>
                </c:pt>
                <c:pt idx="2191">
                  <c:v>2191</c:v>
                </c:pt>
                <c:pt idx="2192">
                  <c:v>2192</c:v>
                </c:pt>
                <c:pt idx="2193">
                  <c:v>2193</c:v>
                </c:pt>
                <c:pt idx="2194">
                  <c:v>2194</c:v>
                </c:pt>
                <c:pt idx="2195">
                  <c:v>2195</c:v>
                </c:pt>
                <c:pt idx="2196">
                  <c:v>2196</c:v>
                </c:pt>
                <c:pt idx="2197">
                  <c:v>2197</c:v>
                </c:pt>
                <c:pt idx="2198">
                  <c:v>2198</c:v>
                </c:pt>
                <c:pt idx="2199">
                  <c:v>2199</c:v>
                </c:pt>
                <c:pt idx="2200">
                  <c:v>2200</c:v>
                </c:pt>
                <c:pt idx="2201">
                  <c:v>2201</c:v>
                </c:pt>
                <c:pt idx="2202">
                  <c:v>2202</c:v>
                </c:pt>
                <c:pt idx="2203">
                  <c:v>2203</c:v>
                </c:pt>
                <c:pt idx="2204">
                  <c:v>2204</c:v>
                </c:pt>
                <c:pt idx="2205">
                  <c:v>2205</c:v>
                </c:pt>
                <c:pt idx="2206">
                  <c:v>2206</c:v>
                </c:pt>
                <c:pt idx="2207">
                  <c:v>2207</c:v>
                </c:pt>
                <c:pt idx="2208">
                  <c:v>2208</c:v>
                </c:pt>
                <c:pt idx="2209">
                  <c:v>2209</c:v>
                </c:pt>
                <c:pt idx="2210">
                  <c:v>2210</c:v>
                </c:pt>
                <c:pt idx="2211">
                  <c:v>2211</c:v>
                </c:pt>
                <c:pt idx="2212">
                  <c:v>2212</c:v>
                </c:pt>
                <c:pt idx="2213">
                  <c:v>2213</c:v>
                </c:pt>
                <c:pt idx="2214">
                  <c:v>2214</c:v>
                </c:pt>
                <c:pt idx="2215">
                  <c:v>2215</c:v>
                </c:pt>
                <c:pt idx="2216">
                  <c:v>2216</c:v>
                </c:pt>
                <c:pt idx="2217">
                  <c:v>2217</c:v>
                </c:pt>
                <c:pt idx="2218">
                  <c:v>2218</c:v>
                </c:pt>
                <c:pt idx="2219">
                  <c:v>2219</c:v>
                </c:pt>
                <c:pt idx="2220">
                  <c:v>2220</c:v>
                </c:pt>
                <c:pt idx="2221">
                  <c:v>2221</c:v>
                </c:pt>
                <c:pt idx="2222">
                  <c:v>2222</c:v>
                </c:pt>
                <c:pt idx="2223">
                  <c:v>2223</c:v>
                </c:pt>
                <c:pt idx="2224">
                  <c:v>2224</c:v>
                </c:pt>
                <c:pt idx="2225">
                  <c:v>2225</c:v>
                </c:pt>
                <c:pt idx="2226">
                  <c:v>2226</c:v>
                </c:pt>
                <c:pt idx="2227">
                  <c:v>2227</c:v>
                </c:pt>
                <c:pt idx="2228">
                  <c:v>2228</c:v>
                </c:pt>
                <c:pt idx="2229">
                  <c:v>2229</c:v>
                </c:pt>
                <c:pt idx="2230">
                  <c:v>2230</c:v>
                </c:pt>
                <c:pt idx="2231">
                  <c:v>2231</c:v>
                </c:pt>
                <c:pt idx="2232">
                  <c:v>2232</c:v>
                </c:pt>
                <c:pt idx="2233">
                  <c:v>2233</c:v>
                </c:pt>
                <c:pt idx="2234">
                  <c:v>2234</c:v>
                </c:pt>
                <c:pt idx="2235">
                  <c:v>2235</c:v>
                </c:pt>
                <c:pt idx="2236">
                  <c:v>2236</c:v>
                </c:pt>
                <c:pt idx="2237">
                  <c:v>2237</c:v>
                </c:pt>
                <c:pt idx="2238">
                  <c:v>2238</c:v>
                </c:pt>
                <c:pt idx="2239">
                  <c:v>2239</c:v>
                </c:pt>
                <c:pt idx="2240">
                  <c:v>2240</c:v>
                </c:pt>
                <c:pt idx="2241">
                  <c:v>2241</c:v>
                </c:pt>
                <c:pt idx="2242">
                  <c:v>2242</c:v>
                </c:pt>
                <c:pt idx="2243">
                  <c:v>2243</c:v>
                </c:pt>
                <c:pt idx="2244">
                  <c:v>2244</c:v>
                </c:pt>
                <c:pt idx="2245">
                  <c:v>2245</c:v>
                </c:pt>
                <c:pt idx="2246">
                  <c:v>2246</c:v>
                </c:pt>
                <c:pt idx="2247">
                  <c:v>2247</c:v>
                </c:pt>
                <c:pt idx="2248">
                  <c:v>2248</c:v>
                </c:pt>
                <c:pt idx="2249">
                  <c:v>2249</c:v>
                </c:pt>
                <c:pt idx="2250">
                  <c:v>2250</c:v>
                </c:pt>
                <c:pt idx="2251">
                  <c:v>2251</c:v>
                </c:pt>
                <c:pt idx="2252">
                  <c:v>2252</c:v>
                </c:pt>
                <c:pt idx="2253">
                  <c:v>2253</c:v>
                </c:pt>
                <c:pt idx="2254">
                  <c:v>2254</c:v>
                </c:pt>
                <c:pt idx="2255">
                  <c:v>2255</c:v>
                </c:pt>
                <c:pt idx="2256">
                  <c:v>2256</c:v>
                </c:pt>
                <c:pt idx="2257">
                  <c:v>2257</c:v>
                </c:pt>
                <c:pt idx="2258">
                  <c:v>2258</c:v>
                </c:pt>
                <c:pt idx="2259">
                  <c:v>2259</c:v>
                </c:pt>
                <c:pt idx="2260">
                  <c:v>2260</c:v>
                </c:pt>
                <c:pt idx="2261">
                  <c:v>2261</c:v>
                </c:pt>
                <c:pt idx="2262">
                  <c:v>2262</c:v>
                </c:pt>
                <c:pt idx="2263">
                  <c:v>2263</c:v>
                </c:pt>
                <c:pt idx="2264">
                  <c:v>2264</c:v>
                </c:pt>
                <c:pt idx="2265">
                  <c:v>2265</c:v>
                </c:pt>
                <c:pt idx="2266">
                  <c:v>2266</c:v>
                </c:pt>
                <c:pt idx="2267">
                  <c:v>2267</c:v>
                </c:pt>
                <c:pt idx="2268">
                  <c:v>2268</c:v>
                </c:pt>
                <c:pt idx="2269">
                  <c:v>2269</c:v>
                </c:pt>
                <c:pt idx="2270">
                  <c:v>2270</c:v>
                </c:pt>
                <c:pt idx="2271">
                  <c:v>2271</c:v>
                </c:pt>
                <c:pt idx="2272">
                  <c:v>2272</c:v>
                </c:pt>
                <c:pt idx="2273">
                  <c:v>2273</c:v>
                </c:pt>
                <c:pt idx="2274">
                  <c:v>2274</c:v>
                </c:pt>
                <c:pt idx="2275">
                  <c:v>2275</c:v>
                </c:pt>
                <c:pt idx="2276">
                  <c:v>2276</c:v>
                </c:pt>
                <c:pt idx="2277">
                  <c:v>2277</c:v>
                </c:pt>
                <c:pt idx="2278">
                  <c:v>2278</c:v>
                </c:pt>
                <c:pt idx="2279">
                  <c:v>2279</c:v>
                </c:pt>
                <c:pt idx="2280">
                  <c:v>2280</c:v>
                </c:pt>
                <c:pt idx="2281">
                  <c:v>2281</c:v>
                </c:pt>
                <c:pt idx="2282">
                  <c:v>2282</c:v>
                </c:pt>
                <c:pt idx="2283">
                  <c:v>2283</c:v>
                </c:pt>
                <c:pt idx="2284">
                  <c:v>2284</c:v>
                </c:pt>
                <c:pt idx="2285">
                  <c:v>2285</c:v>
                </c:pt>
                <c:pt idx="2286">
                  <c:v>2286</c:v>
                </c:pt>
                <c:pt idx="2287">
                  <c:v>2287</c:v>
                </c:pt>
                <c:pt idx="2288">
                  <c:v>2288</c:v>
                </c:pt>
                <c:pt idx="2289">
                  <c:v>2289</c:v>
                </c:pt>
                <c:pt idx="2290">
                  <c:v>2290</c:v>
                </c:pt>
                <c:pt idx="2291">
                  <c:v>2291</c:v>
                </c:pt>
                <c:pt idx="2292">
                  <c:v>2292</c:v>
                </c:pt>
                <c:pt idx="2293">
                  <c:v>2293</c:v>
                </c:pt>
                <c:pt idx="2294">
                  <c:v>2294</c:v>
                </c:pt>
                <c:pt idx="2295">
                  <c:v>2295</c:v>
                </c:pt>
                <c:pt idx="2296">
                  <c:v>2296</c:v>
                </c:pt>
                <c:pt idx="2297">
                  <c:v>2297</c:v>
                </c:pt>
                <c:pt idx="2298">
                  <c:v>2298</c:v>
                </c:pt>
                <c:pt idx="2299">
                  <c:v>2299</c:v>
                </c:pt>
                <c:pt idx="2300">
                  <c:v>2300</c:v>
                </c:pt>
                <c:pt idx="2301">
                  <c:v>2301</c:v>
                </c:pt>
                <c:pt idx="2302">
                  <c:v>2302</c:v>
                </c:pt>
                <c:pt idx="2303">
                  <c:v>2303</c:v>
                </c:pt>
                <c:pt idx="2304">
                  <c:v>2304</c:v>
                </c:pt>
                <c:pt idx="2305">
                  <c:v>2305</c:v>
                </c:pt>
                <c:pt idx="2306">
                  <c:v>2306</c:v>
                </c:pt>
                <c:pt idx="2307">
                  <c:v>2307</c:v>
                </c:pt>
                <c:pt idx="2308">
                  <c:v>2308</c:v>
                </c:pt>
                <c:pt idx="2309">
                  <c:v>2309</c:v>
                </c:pt>
                <c:pt idx="2310">
                  <c:v>2310</c:v>
                </c:pt>
                <c:pt idx="2311">
                  <c:v>2311</c:v>
                </c:pt>
                <c:pt idx="2312">
                  <c:v>2312</c:v>
                </c:pt>
                <c:pt idx="2313">
                  <c:v>2313</c:v>
                </c:pt>
                <c:pt idx="2314">
                  <c:v>2314</c:v>
                </c:pt>
                <c:pt idx="2315">
                  <c:v>2315</c:v>
                </c:pt>
                <c:pt idx="2316">
                  <c:v>2316</c:v>
                </c:pt>
                <c:pt idx="2317">
                  <c:v>2317</c:v>
                </c:pt>
                <c:pt idx="2318">
                  <c:v>2318</c:v>
                </c:pt>
                <c:pt idx="2319">
                  <c:v>2319</c:v>
                </c:pt>
                <c:pt idx="2320">
                  <c:v>2320</c:v>
                </c:pt>
                <c:pt idx="2321">
                  <c:v>2321</c:v>
                </c:pt>
                <c:pt idx="2322">
                  <c:v>2322</c:v>
                </c:pt>
                <c:pt idx="2323">
                  <c:v>2323</c:v>
                </c:pt>
                <c:pt idx="2324">
                  <c:v>2324</c:v>
                </c:pt>
                <c:pt idx="2325">
                  <c:v>2325</c:v>
                </c:pt>
                <c:pt idx="2326">
                  <c:v>2326</c:v>
                </c:pt>
                <c:pt idx="2327">
                  <c:v>2327</c:v>
                </c:pt>
                <c:pt idx="2328">
                  <c:v>2328</c:v>
                </c:pt>
                <c:pt idx="2329">
                  <c:v>2329</c:v>
                </c:pt>
                <c:pt idx="2330">
                  <c:v>2330</c:v>
                </c:pt>
                <c:pt idx="2331">
                  <c:v>2331</c:v>
                </c:pt>
                <c:pt idx="2332">
                  <c:v>2332</c:v>
                </c:pt>
                <c:pt idx="2333">
                  <c:v>2333</c:v>
                </c:pt>
                <c:pt idx="2334">
                  <c:v>2334</c:v>
                </c:pt>
                <c:pt idx="2335">
                  <c:v>2335</c:v>
                </c:pt>
                <c:pt idx="2336">
                  <c:v>2336</c:v>
                </c:pt>
                <c:pt idx="2337">
                  <c:v>2337</c:v>
                </c:pt>
                <c:pt idx="2338">
                  <c:v>2338</c:v>
                </c:pt>
                <c:pt idx="2339">
                  <c:v>2339</c:v>
                </c:pt>
                <c:pt idx="2340">
                  <c:v>2340</c:v>
                </c:pt>
                <c:pt idx="2341">
                  <c:v>2341</c:v>
                </c:pt>
                <c:pt idx="2342">
                  <c:v>2342</c:v>
                </c:pt>
                <c:pt idx="2343">
                  <c:v>2343</c:v>
                </c:pt>
                <c:pt idx="2344">
                  <c:v>2344</c:v>
                </c:pt>
                <c:pt idx="2345">
                  <c:v>2345</c:v>
                </c:pt>
                <c:pt idx="2346">
                  <c:v>2346</c:v>
                </c:pt>
                <c:pt idx="2347">
                  <c:v>2347</c:v>
                </c:pt>
                <c:pt idx="2348">
                  <c:v>2348</c:v>
                </c:pt>
                <c:pt idx="2349">
                  <c:v>2349</c:v>
                </c:pt>
                <c:pt idx="2350">
                  <c:v>2350</c:v>
                </c:pt>
                <c:pt idx="2351">
                  <c:v>2351</c:v>
                </c:pt>
                <c:pt idx="2352">
                  <c:v>2352</c:v>
                </c:pt>
                <c:pt idx="2353">
                  <c:v>2353</c:v>
                </c:pt>
                <c:pt idx="2354">
                  <c:v>2354</c:v>
                </c:pt>
                <c:pt idx="2355">
                  <c:v>2355</c:v>
                </c:pt>
                <c:pt idx="2356">
                  <c:v>2356</c:v>
                </c:pt>
                <c:pt idx="2357">
                  <c:v>2357</c:v>
                </c:pt>
                <c:pt idx="2358">
                  <c:v>2358</c:v>
                </c:pt>
                <c:pt idx="2359">
                  <c:v>2359</c:v>
                </c:pt>
                <c:pt idx="2360">
                  <c:v>2360</c:v>
                </c:pt>
                <c:pt idx="2361">
                  <c:v>2361</c:v>
                </c:pt>
                <c:pt idx="2362">
                  <c:v>2362</c:v>
                </c:pt>
                <c:pt idx="2363">
                  <c:v>2363</c:v>
                </c:pt>
                <c:pt idx="2364">
                  <c:v>2364</c:v>
                </c:pt>
                <c:pt idx="2365">
                  <c:v>2365</c:v>
                </c:pt>
                <c:pt idx="2366">
                  <c:v>2366</c:v>
                </c:pt>
                <c:pt idx="2367">
                  <c:v>2367</c:v>
                </c:pt>
                <c:pt idx="2368">
                  <c:v>2368</c:v>
                </c:pt>
                <c:pt idx="2369">
                  <c:v>2369</c:v>
                </c:pt>
                <c:pt idx="2370">
                  <c:v>2370</c:v>
                </c:pt>
                <c:pt idx="2371">
                  <c:v>2371</c:v>
                </c:pt>
                <c:pt idx="2372">
                  <c:v>2372</c:v>
                </c:pt>
                <c:pt idx="2373">
                  <c:v>2373</c:v>
                </c:pt>
                <c:pt idx="2374">
                  <c:v>2374</c:v>
                </c:pt>
                <c:pt idx="2375">
                  <c:v>2375</c:v>
                </c:pt>
                <c:pt idx="2376">
                  <c:v>2376</c:v>
                </c:pt>
                <c:pt idx="2377">
                  <c:v>2377</c:v>
                </c:pt>
                <c:pt idx="2378">
                  <c:v>2378</c:v>
                </c:pt>
                <c:pt idx="2379">
                  <c:v>2379</c:v>
                </c:pt>
                <c:pt idx="2380">
                  <c:v>2380</c:v>
                </c:pt>
                <c:pt idx="2381">
                  <c:v>2381</c:v>
                </c:pt>
                <c:pt idx="2382">
                  <c:v>2382</c:v>
                </c:pt>
                <c:pt idx="2383">
                  <c:v>2383</c:v>
                </c:pt>
                <c:pt idx="2384">
                  <c:v>2384</c:v>
                </c:pt>
                <c:pt idx="2385">
                  <c:v>2385</c:v>
                </c:pt>
                <c:pt idx="2386">
                  <c:v>2386</c:v>
                </c:pt>
                <c:pt idx="2387">
                  <c:v>2387</c:v>
                </c:pt>
                <c:pt idx="2388">
                  <c:v>2388</c:v>
                </c:pt>
                <c:pt idx="2389">
                  <c:v>2389</c:v>
                </c:pt>
                <c:pt idx="2390">
                  <c:v>2390</c:v>
                </c:pt>
                <c:pt idx="2391">
                  <c:v>2391</c:v>
                </c:pt>
                <c:pt idx="2392">
                  <c:v>2392</c:v>
                </c:pt>
                <c:pt idx="2393">
                  <c:v>2393</c:v>
                </c:pt>
                <c:pt idx="2394">
                  <c:v>2394</c:v>
                </c:pt>
                <c:pt idx="2395">
                  <c:v>2395</c:v>
                </c:pt>
                <c:pt idx="2396">
                  <c:v>2396</c:v>
                </c:pt>
                <c:pt idx="2397">
                  <c:v>2397</c:v>
                </c:pt>
                <c:pt idx="2398">
                  <c:v>2398</c:v>
                </c:pt>
                <c:pt idx="2399">
                  <c:v>2399</c:v>
                </c:pt>
                <c:pt idx="2400">
                  <c:v>2400</c:v>
                </c:pt>
              </c:numCache>
            </c:numRef>
          </c:cat>
          <c:val>
            <c:numRef>
              <c:f>'[Graphes_note_Evolutions_malus-1.xlsx]Données_graphe_MASSE'!$C$7:$C$2407</c:f>
              <c:numCache>
                <c:formatCode>General</c:formatCode>
                <c:ptCount val="2401"/>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pt idx="747">
                  <c:v>0</c:v>
                </c:pt>
                <c:pt idx="748">
                  <c:v>0</c:v>
                </c:pt>
                <c:pt idx="749">
                  <c:v>0</c:v>
                </c:pt>
                <c:pt idx="750">
                  <c:v>0</c:v>
                </c:pt>
                <c:pt idx="751">
                  <c:v>0</c:v>
                </c:pt>
                <c:pt idx="752">
                  <c:v>0</c:v>
                </c:pt>
                <c:pt idx="753">
                  <c:v>0</c:v>
                </c:pt>
                <c:pt idx="754">
                  <c:v>0</c:v>
                </c:pt>
                <c:pt idx="755">
                  <c:v>0</c:v>
                </c:pt>
                <c:pt idx="756">
                  <c:v>0</c:v>
                </c:pt>
                <c:pt idx="757">
                  <c:v>0</c:v>
                </c:pt>
                <c:pt idx="758">
                  <c:v>0</c:v>
                </c:pt>
                <c:pt idx="759">
                  <c:v>0</c:v>
                </c:pt>
                <c:pt idx="760">
                  <c:v>0</c:v>
                </c:pt>
                <c:pt idx="761">
                  <c:v>0</c:v>
                </c:pt>
                <c:pt idx="762">
                  <c:v>0</c:v>
                </c:pt>
                <c:pt idx="763">
                  <c:v>0</c:v>
                </c:pt>
                <c:pt idx="764">
                  <c:v>0</c:v>
                </c:pt>
                <c:pt idx="765">
                  <c:v>0</c:v>
                </c:pt>
                <c:pt idx="766">
                  <c:v>0</c:v>
                </c:pt>
                <c:pt idx="767">
                  <c:v>0</c:v>
                </c:pt>
                <c:pt idx="768">
                  <c:v>0</c:v>
                </c:pt>
                <c:pt idx="769">
                  <c:v>0</c:v>
                </c:pt>
                <c:pt idx="770">
                  <c:v>0</c:v>
                </c:pt>
                <c:pt idx="771">
                  <c:v>0</c:v>
                </c:pt>
                <c:pt idx="772">
                  <c:v>0</c:v>
                </c:pt>
                <c:pt idx="773">
                  <c:v>0</c:v>
                </c:pt>
                <c:pt idx="774">
                  <c:v>0</c:v>
                </c:pt>
                <c:pt idx="775">
                  <c:v>0</c:v>
                </c:pt>
                <c:pt idx="776">
                  <c:v>0</c:v>
                </c:pt>
                <c:pt idx="777">
                  <c:v>0</c:v>
                </c:pt>
                <c:pt idx="778">
                  <c:v>0</c:v>
                </c:pt>
                <c:pt idx="779">
                  <c:v>0</c:v>
                </c:pt>
                <c:pt idx="780">
                  <c:v>0</c:v>
                </c:pt>
                <c:pt idx="781">
                  <c:v>0</c:v>
                </c:pt>
                <c:pt idx="782">
                  <c:v>0</c:v>
                </c:pt>
                <c:pt idx="783">
                  <c:v>0</c:v>
                </c:pt>
                <c:pt idx="784">
                  <c:v>0</c:v>
                </c:pt>
                <c:pt idx="785">
                  <c:v>0</c:v>
                </c:pt>
                <c:pt idx="786">
                  <c:v>0</c:v>
                </c:pt>
                <c:pt idx="787">
                  <c:v>0</c:v>
                </c:pt>
                <c:pt idx="788">
                  <c:v>0</c:v>
                </c:pt>
                <c:pt idx="789">
                  <c:v>0</c:v>
                </c:pt>
                <c:pt idx="790">
                  <c:v>0</c:v>
                </c:pt>
                <c:pt idx="791">
                  <c:v>0</c:v>
                </c:pt>
                <c:pt idx="792">
                  <c:v>0</c:v>
                </c:pt>
                <c:pt idx="793">
                  <c:v>0</c:v>
                </c:pt>
                <c:pt idx="794">
                  <c:v>0</c:v>
                </c:pt>
                <c:pt idx="795">
                  <c:v>0</c:v>
                </c:pt>
                <c:pt idx="796">
                  <c:v>0</c:v>
                </c:pt>
                <c:pt idx="797">
                  <c:v>0</c:v>
                </c:pt>
                <c:pt idx="798">
                  <c:v>0</c:v>
                </c:pt>
                <c:pt idx="799">
                  <c:v>0</c:v>
                </c:pt>
                <c:pt idx="800">
                  <c:v>0</c:v>
                </c:pt>
                <c:pt idx="801">
                  <c:v>0</c:v>
                </c:pt>
                <c:pt idx="802">
                  <c:v>0</c:v>
                </c:pt>
                <c:pt idx="803">
                  <c:v>0</c:v>
                </c:pt>
                <c:pt idx="804">
                  <c:v>0</c:v>
                </c:pt>
                <c:pt idx="805">
                  <c:v>0</c:v>
                </c:pt>
                <c:pt idx="806">
                  <c:v>0</c:v>
                </c:pt>
                <c:pt idx="807">
                  <c:v>0</c:v>
                </c:pt>
                <c:pt idx="808">
                  <c:v>0</c:v>
                </c:pt>
                <c:pt idx="809">
                  <c:v>0</c:v>
                </c:pt>
                <c:pt idx="810">
                  <c:v>0</c:v>
                </c:pt>
                <c:pt idx="811">
                  <c:v>0</c:v>
                </c:pt>
                <c:pt idx="812">
                  <c:v>0</c:v>
                </c:pt>
                <c:pt idx="813">
                  <c:v>0</c:v>
                </c:pt>
                <c:pt idx="814">
                  <c:v>0</c:v>
                </c:pt>
                <c:pt idx="815">
                  <c:v>0</c:v>
                </c:pt>
                <c:pt idx="816">
                  <c:v>0</c:v>
                </c:pt>
                <c:pt idx="817">
                  <c:v>0</c:v>
                </c:pt>
                <c:pt idx="818">
                  <c:v>0</c:v>
                </c:pt>
                <c:pt idx="819">
                  <c:v>0</c:v>
                </c:pt>
                <c:pt idx="820">
                  <c:v>0</c:v>
                </c:pt>
                <c:pt idx="821">
                  <c:v>0</c:v>
                </c:pt>
                <c:pt idx="822">
                  <c:v>0</c:v>
                </c:pt>
                <c:pt idx="823">
                  <c:v>0</c:v>
                </c:pt>
                <c:pt idx="824">
                  <c:v>0</c:v>
                </c:pt>
                <c:pt idx="825">
                  <c:v>0</c:v>
                </c:pt>
                <c:pt idx="826">
                  <c:v>0</c:v>
                </c:pt>
                <c:pt idx="827">
                  <c:v>0</c:v>
                </c:pt>
                <c:pt idx="828">
                  <c:v>0</c:v>
                </c:pt>
                <c:pt idx="829">
                  <c:v>0</c:v>
                </c:pt>
                <c:pt idx="830">
                  <c:v>0</c:v>
                </c:pt>
                <c:pt idx="831">
                  <c:v>0</c:v>
                </c:pt>
                <c:pt idx="832">
                  <c:v>0</c:v>
                </c:pt>
                <c:pt idx="833">
                  <c:v>0</c:v>
                </c:pt>
                <c:pt idx="834">
                  <c:v>0</c:v>
                </c:pt>
                <c:pt idx="835">
                  <c:v>0</c:v>
                </c:pt>
                <c:pt idx="836">
                  <c:v>0</c:v>
                </c:pt>
                <c:pt idx="837">
                  <c:v>0</c:v>
                </c:pt>
                <c:pt idx="838">
                  <c:v>0</c:v>
                </c:pt>
                <c:pt idx="839">
                  <c:v>0</c:v>
                </c:pt>
                <c:pt idx="840">
                  <c:v>0</c:v>
                </c:pt>
                <c:pt idx="841">
                  <c:v>0</c:v>
                </c:pt>
                <c:pt idx="842">
                  <c:v>0</c:v>
                </c:pt>
                <c:pt idx="843">
                  <c:v>0</c:v>
                </c:pt>
                <c:pt idx="844">
                  <c:v>0</c:v>
                </c:pt>
                <c:pt idx="845">
                  <c:v>0</c:v>
                </c:pt>
                <c:pt idx="846">
                  <c:v>0</c:v>
                </c:pt>
                <c:pt idx="847">
                  <c:v>0</c:v>
                </c:pt>
                <c:pt idx="848">
                  <c:v>0</c:v>
                </c:pt>
                <c:pt idx="849">
                  <c:v>0</c:v>
                </c:pt>
                <c:pt idx="850">
                  <c:v>0</c:v>
                </c:pt>
                <c:pt idx="851">
                  <c:v>0</c:v>
                </c:pt>
                <c:pt idx="852">
                  <c:v>0</c:v>
                </c:pt>
                <c:pt idx="853">
                  <c:v>0</c:v>
                </c:pt>
                <c:pt idx="854">
                  <c:v>0</c:v>
                </c:pt>
                <c:pt idx="855">
                  <c:v>0</c:v>
                </c:pt>
                <c:pt idx="856">
                  <c:v>0</c:v>
                </c:pt>
                <c:pt idx="857">
                  <c:v>0</c:v>
                </c:pt>
                <c:pt idx="858">
                  <c:v>0</c:v>
                </c:pt>
                <c:pt idx="859">
                  <c:v>0</c:v>
                </c:pt>
                <c:pt idx="860">
                  <c:v>0</c:v>
                </c:pt>
                <c:pt idx="861">
                  <c:v>0</c:v>
                </c:pt>
                <c:pt idx="862">
                  <c:v>0</c:v>
                </c:pt>
                <c:pt idx="863">
                  <c:v>0</c:v>
                </c:pt>
                <c:pt idx="864">
                  <c:v>0</c:v>
                </c:pt>
                <c:pt idx="865">
                  <c:v>0</c:v>
                </c:pt>
                <c:pt idx="866">
                  <c:v>0</c:v>
                </c:pt>
                <c:pt idx="867">
                  <c:v>0</c:v>
                </c:pt>
                <c:pt idx="868">
                  <c:v>0</c:v>
                </c:pt>
                <c:pt idx="869">
                  <c:v>0</c:v>
                </c:pt>
                <c:pt idx="870">
                  <c:v>0</c:v>
                </c:pt>
                <c:pt idx="871">
                  <c:v>0</c:v>
                </c:pt>
                <c:pt idx="872">
                  <c:v>0</c:v>
                </c:pt>
                <c:pt idx="873">
                  <c:v>0</c:v>
                </c:pt>
                <c:pt idx="874">
                  <c:v>0</c:v>
                </c:pt>
                <c:pt idx="875">
                  <c:v>0</c:v>
                </c:pt>
                <c:pt idx="876">
                  <c:v>0</c:v>
                </c:pt>
                <c:pt idx="877">
                  <c:v>0</c:v>
                </c:pt>
                <c:pt idx="878">
                  <c:v>0</c:v>
                </c:pt>
                <c:pt idx="879">
                  <c:v>0</c:v>
                </c:pt>
                <c:pt idx="880">
                  <c:v>0</c:v>
                </c:pt>
                <c:pt idx="881">
                  <c:v>0</c:v>
                </c:pt>
                <c:pt idx="882">
                  <c:v>0</c:v>
                </c:pt>
                <c:pt idx="883">
                  <c:v>0</c:v>
                </c:pt>
                <c:pt idx="884">
                  <c:v>0</c:v>
                </c:pt>
                <c:pt idx="885">
                  <c:v>0</c:v>
                </c:pt>
                <c:pt idx="886">
                  <c:v>0</c:v>
                </c:pt>
                <c:pt idx="887">
                  <c:v>0</c:v>
                </c:pt>
                <c:pt idx="888">
                  <c:v>0</c:v>
                </c:pt>
                <c:pt idx="889">
                  <c:v>0</c:v>
                </c:pt>
                <c:pt idx="890">
                  <c:v>0</c:v>
                </c:pt>
                <c:pt idx="891">
                  <c:v>0</c:v>
                </c:pt>
                <c:pt idx="892">
                  <c:v>0</c:v>
                </c:pt>
                <c:pt idx="893">
                  <c:v>0</c:v>
                </c:pt>
                <c:pt idx="894">
                  <c:v>0</c:v>
                </c:pt>
                <c:pt idx="895">
                  <c:v>0</c:v>
                </c:pt>
                <c:pt idx="896">
                  <c:v>0</c:v>
                </c:pt>
                <c:pt idx="897">
                  <c:v>0</c:v>
                </c:pt>
                <c:pt idx="898">
                  <c:v>0</c:v>
                </c:pt>
                <c:pt idx="899">
                  <c:v>0</c:v>
                </c:pt>
                <c:pt idx="900">
                  <c:v>0</c:v>
                </c:pt>
                <c:pt idx="901">
                  <c:v>0</c:v>
                </c:pt>
                <c:pt idx="902">
                  <c:v>0</c:v>
                </c:pt>
                <c:pt idx="903">
                  <c:v>0</c:v>
                </c:pt>
                <c:pt idx="904">
                  <c:v>0</c:v>
                </c:pt>
                <c:pt idx="905">
                  <c:v>0</c:v>
                </c:pt>
                <c:pt idx="906">
                  <c:v>0</c:v>
                </c:pt>
                <c:pt idx="907">
                  <c:v>0</c:v>
                </c:pt>
                <c:pt idx="908">
                  <c:v>0</c:v>
                </c:pt>
                <c:pt idx="909">
                  <c:v>0</c:v>
                </c:pt>
                <c:pt idx="910">
                  <c:v>0</c:v>
                </c:pt>
                <c:pt idx="911">
                  <c:v>0</c:v>
                </c:pt>
                <c:pt idx="912">
                  <c:v>0</c:v>
                </c:pt>
                <c:pt idx="913">
                  <c:v>0</c:v>
                </c:pt>
                <c:pt idx="914">
                  <c:v>0</c:v>
                </c:pt>
                <c:pt idx="915">
                  <c:v>0</c:v>
                </c:pt>
                <c:pt idx="916">
                  <c:v>0</c:v>
                </c:pt>
                <c:pt idx="917">
                  <c:v>0</c:v>
                </c:pt>
                <c:pt idx="918">
                  <c:v>0</c:v>
                </c:pt>
                <c:pt idx="919">
                  <c:v>0</c:v>
                </c:pt>
                <c:pt idx="920">
                  <c:v>0</c:v>
                </c:pt>
                <c:pt idx="921">
                  <c:v>0</c:v>
                </c:pt>
                <c:pt idx="922">
                  <c:v>0</c:v>
                </c:pt>
                <c:pt idx="923">
                  <c:v>0</c:v>
                </c:pt>
                <c:pt idx="924">
                  <c:v>0</c:v>
                </c:pt>
                <c:pt idx="925">
                  <c:v>0</c:v>
                </c:pt>
                <c:pt idx="926">
                  <c:v>0</c:v>
                </c:pt>
                <c:pt idx="927">
                  <c:v>0</c:v>
                </c:pt>
                <c:pt idx="928">
                  <c:v>0</c:v>
                </c:pt>
                <c:pt idx="929">
                  <c:v>0</c:v>
                </c:pt>
                <c:pt idx="930">
                  <c:v>0</c:v>
                </c:pt>
                <c:pt idx="931">
                  <c:v>0</c:v>
                </c:pt>
                <c:pt idx="932">
                  <c:v>0</c:v>
                </c:pt>
                <c:pt idx="933">
                  <c:v>0</c:v>
                </c:pt>
                <c:pt idx="934">
                  <c:v>0</c:v>
                </c:pt>
                <c:pt idx="935">
                  <c:v>0</c:v>
                </c:pt>
                <c:pt idx="936">
                  <c:v>0</c:v>
                </c:pt>
                <c:pt idx="937">
                  <c:v>0</c:v>
                </c:pt>
                <c:pt idx="938">
                  <c:v>0</c:v>
                </c:pt>
                <c:pt idx="939">
                  <c:v>0</c:v>
                </c:pt>
                <c:pt idx="940">
                  <c:v>0</c:v>
                </c:pt>
                <c:pt idx="941">
                  <c:v>0</c:v>
                </c:pt>
                <c:pt idx="942">
                  <c:v>0</c:v>
                </c:pt>
                <c:pt idx="943">
                  <c:v>0</c:v>
                </c:pt>
                <c:pt idx="944">
                  <c:v>0</c:v>
                </c:pt>
                <c:pt idx="945">
                  <c:v>0</c:v>
                </c:pt>
                <c:pt idx="946">
                  <c:v>0</c:v>
                </c:pt>
                <c:pt idx="947">
                  <c:v>0</c:v>
                </c:pt>
                <c:pt idx="948">
                  <c:v>0</c:v>
                </c:pt>
                <c:pt idx="949">
                  <c:v>0</c:v>
                </c:pt>
                <c:pt idx="950">
                  <c:v>0</c:v>
                </c:pt>
                <c:pt idx="951">
                  <c:v>0</c:v>
                </c:pt>
                <c:pt idx="952">
                  <c:v>0</c:v>
                </c:pt>
                <c:pt idx="953">
                  <c:v>0</c:v>
                </c:pt>
                <c:pt idx="954">
                  <c:v>0</c:v>
                </c:pt>
                <c:pt idx="955">
                  <c:v>0</c:v>
                </c:pt>
                <c:pt idx="956">
                  <c:v>0</c:v>
                </c:pt>
                <c:pt idx="957">
                  <c:v>0</c:v>
                </c:pt>
                <c:pt idx="958">
                  <c:v>0</c:v>
                </c:pt>
                <c:pt idx="959">
                  <c:v>0</c:v>
                </c:pt>
                <c:pt idx="960">
                  <c:v>0</c:v>
                </c:pt>
                <c:pt idx="961">
                  <c:v>0</c:v>
                </c:pt>
                <c:pt idx="962">
                  <c:v>0</c:v>
                </c:pt>
                <c:pt idx="963">
                  <c:v>0</c:v>
                </c:pt>
                <c:pt idx="964">
                  <c:v>0</c:v>
                </c:pt>
                <c:pt idx="965">
                  <c:v>0</c:v>
                </c:pt>
                <c:pt idx="966">
                  <c:v>0</c:v>
                </c:pt>
                <c:pt idx="967">
                  <c:v>0</c:v>
                </c:pt>
                <c:pt idx="968">
                  <c:v>0</c:v>
                </c:pt>
                <c:pt idx="969">
                  <c:v>0</c:v>
                </c:pt>
                <c:pt idx="970">
                  <c:v>0</c:v>
                </c:pt>
                <c:pt idx="971">
                  <c:v>0</c:v>
                </c:pt>
                <c:pt idx="972">
                  <c:v>0</c:v>
                </c:pt>
                <c:pt idx="973">
                  <c:v>0</c:v>
                </c:pt>
                <c:pt idx="974">
                  <c:v>0</c:v>
                </c:pt>
                <c:pt idx="975">
                  <c:v>0</c:v>
                </c:pt>
                <c:pt idx="976">
                  <c:v>0</c:v>
                </c:pt>
                <c:pt idx="977">
                  <c:v>0</c:v>
                </c:pt>
                <c:pt idx="978">
                  <c:v>0</c:v>
                </c:pt>
                <c:pt idx="979">
                  <c:v>0</c:v>
                </c:pt>
                <c:pt idx="980">
                  <c:v>0</c:v>
                </c:pt>
                <c:pt idx="981">
                  <c:v>0</c:v>
                </c:pt>
                <c:pt idx="982">
                  <c:v>0</c:v>
                </c:pt>
                <c:pt idx="983">
                  <c:v>0</c:v>
                </c:pt>
                <c:pt idx="984">
                  <c:v>0</c:v>
                </c:pt>
                <c:pt idx="985">
                  <c:v>0</c:v>
                </c:pt>
                <c:pt idx="986">
                  <c:v>0</c:v>
                </c:pt>
                <c:pt idx="987">
                  <c:v>0</c:v>
                </c:pt>
                <c:pt idx="988">
                  <c:v>0</c:v>
                </c:pt>
                <c:pt idx="989">
                  <c:v>0</c:v>
                </c:pt>
                <c:pt idx="990">
                  <c:v>0</c:v>
                </c:pt>
                <c:pt idx="991">
                  <c:v>0</c:v>
                </c:pt>
                <c:pt idx="992">
                  <c:v>0</c:v>
                </c:pt>
                <c:pt idx="993">
                  <c:v>0</c:v>
                </c:pt>
                <c:pt idx="994">
                  <c:v>0</c:v>
                </c:pt>
                <c:pt idx="995">
                  <c:v>0</c:v>
                </c:pt>
                <c:pt idx="996">
                  <c:v>0</c:v>
                </c:pt>
                <c:pt idx="997">
                  <c:v>0</c:v>
                </c:pt>
                <c:pt idx="998">
                  <c:v>0</c:v>
                </c:pt>
                <c:pt idx="999">
                  <c:v>0</c:v>
                </c:pt>
                <c:pt idx="1000">
                  <c:v>0</c:v>
                </c:pt>
                <c:pt idx="1001">
                  <c:v>0</c:v>
                </c:pt>
                <c:pt idx="1002">
                  <c:v>0</c:v>
                </c:pt>
                <c:pt idx="1003">
                  <c:v>0</c:v>
                </c:pt>
                <c:pt idx="1004">
                  <c:v>0</c:v>
                </c:pt>
                <c:pt idx="1005">
                  <c:v>0</c:v>
                </c:pt>
                <c:pt idx="1006">
                  <c:v>0</c:v>
                </c:pt>
                <c:pt idx="1007">
                  <c:v>0</c:v>
                </c:pt>
                <c:pt idx="1008">
                  <c:v>0</c:v>
                </c:pt>
                <c:pt idx="1009">
                  <c:v>0</c:v>
                </c:pt>
                <c:pt idx="1010">
                  <c:v>0</c:v>
                </c:pt>
                <c:pt idx="1011">
                  <c:v>0</c:v>
                </c:pt>
                <c:pt idx="1012">
                  <c:v>0</c:v>
                </c:pt>
                <c:pt idx="1013">
                  <c:v>0</c:v>
                </c:pt>
                <c:pt idx="1014">
                  <c:v>0</c:v>
                </c:pt>
                <c:pt idx="1015">
                  <c:v>0</c:v>
                </c:pt>
                <c:pt idx="1016">
                  <c:v>0</c:v>
                </c:pt>
                <c:pt idx="1017">
                  <c:v>0</c:v>
                </c:pt>
                <c:pt idx="1018">
                  <c:v>0</c:v>
                </c:pt>
                <c:pt idx="1019">
                  <c:v>0</c:v>
                </c:pt>
                <c:pt idx="1020">
                  <c:v>0</c:v>
                </c:pt>
                <c:pt idx="1021">
                  <c:v>0</c:v>
                </c:pt>
                <c:pt idx="1022">
                  <c:v>0</c:v>
                </c:pt>
                <c:pt idx="1023">
                  <c:v>0</c:v>
                </c:pt>
                <c:pt idx="1024">
                  <c:v>0</c:v>
                </c:pt>
                <c:pt idx="1025">
                  <c:v>0</c:v>
                </c:pt>
                <c:pt idx="1026">
                  <c:v>0</c:v>
                </c:pt>
                <c:pt idx="1027">
                  <c:v>0</c:v>
                </c:pt>
                <c:pt idx="1028">
                  <c:v>0</c:v>
                </c:pt>
                <c:pt idx="1029">
                  <c:v>0</c:v>
                </c:pt>
                <c:pt idx="1030">
                  <c:v>0</c:v>
                </c:pt>
                <c:pt idx="1031">
                  <c:v>0</c:v>
                </c:pt>
                <c:pt idx="1032">
                  <c:v>0</c:v>
                </c:pt>
                <c:pt idx="1033">
                  <c:v>0</c:v>
                </c:pt>
                <c:pt idx="1034">
                  <c:v>0</c:v>
                </c:pt>
                <c:pt idx="1035">
                  <c:v>0</c:v>
                </c:pt>
                <c:pt idx="1036">
                  <c:v>0</c:v>
                </c:pt>
                <c:pt idx="1037">
                  <c:v>0</c:v>
                </c:pt>
                <c:pt idx="1038">
                  <c:v>0</c:v>
                </c:pt>
                <c:pt idx="1039">
                  <c:v>0</c:v>
                </c:pt>
                <c:pt idx="1040">
                  <c:v>0</c:v>
                </c:pt>
                <c:pt idx="1041">
                  <c:v>0</c:v>
                </c:pt>
                <c:pt idx="1042">
                  <c:v>0</c:v>
                </c:pt>
                <c:pt idx="1043">
                  <c:v>0</c:v>
                </c:pt>
                <c:pt idx="1044">
                  <c:v>0</c:v>
                </c:pt>
                <c:pt idx="1045">
                  <c:v>0</c:v>
                </c:pt>
                <c:pt idx="1046">
                  <c:v>0</c:v>
                </c:pt>
                <c:pt idx="1047">
                  <c:v>0</c:v>
                </c:pt>
                <c:pt idx="1048">
                  <c:v>0</c:v>
                </c:pt>
                <c:pt idx="1049">
                  <c:v>0</c:v>
                </c:pt>
                <c:pt idx="1050">
                  <c:v>0</c:v>
                </c:pt>
                <c:pt idx="1051">
                  <c:v>0</c:v>
                </c:pt>
                <c:pt idx="1052">
                  <c:v>0</c:v>
                </c:pt>
                <c:pt idx="1053">
                  <c:v>0</c:v>
                </c:pt>
                <c:pt idx="1054">
                  <c:v>0</c:v>
                </c:pt>
                <c:pt idx="1055">
                  <c:v>0</c:v>
                </c:pt>
                <c:pt idx="1056">
                  <c:v>0</c:v>
                </c:pt>
                <c:pt idx="1057">
                  <c:v>0</c:v>
                </c:pt>
                <c:pt idx="1058">
                  <c:v>0</c:v>
                </c:pt>
                <c:pt idx="1059">
                  <c:v>0</c:v>
                </c:pt>
                <c:pt idx="1060">
                  <c:v>0</c:v>
                </c:pt>
                <c:pt idx="1061">
                  <c:v>0</c:v>
                </c:pt>
                <c:pt idx="1062">
                  <c:v>0</c:v>
                </c:pt>
                <c:pt idx="1063">
                  <c:v>0</c:v>
                </c:pt>
                <c:pt idx="1064">
                  <c:v>0</c:v>
                </c:pt>
                <c:pt idx="1065">
                  <c:v>0</c:v>
                </c:pt>
                <c:pt idx="1066">
                  <c:v>0</c:v>
                </c:pt>
                <c:pt idx="1067">
                  <c:v>0</c:v>
                </c:pt>
                <c:pt idx="1068">
                  <c:v>0</c:v>
                </c:pt>
                <c:pt idx="1069">
                  <c:v>0</c:v>
                </c:pt>
                <c:pt idx="1070">
                  <c:v>0</c:v>
                </c:pt>
                <c:pt idx="1071">
                  <c:v>0</c:v>
                </c:pt>
                <c:pt idx="1072">
                  <c:v>0</c:v>
                </c:pt>
                <c:pt idx="1073">
                  <c:v>0</c:v>
                </c:pt>
                <c:pt idx="1074">
                  <c:v>0</c:v>
                </c:pt>
                <c:pt idx="1075">
                  <c:v>0</c:v>
                </c:pt>
                <c:pt idx="1076">
                  <c:v>0</c:v>
                </c:pt>
                <c:pt idx="1077">
                  <c:v>0</c:v>
                </c:pt>
                <c:pt idx="1078">
                  <c:v>0</c:v>
                </c:pt>
                <c:pt idx="1079">
                  <c:v>0</c:v>
                </c:pt>
                <c:pt idx="1080">
                  <c:v>0</c:v>
                </c:pt>
                <c:pt idx="1081">
                  <c:v>0</c:v>
                </c:pt>
                <c:pt idx="1082">
                  <c:v>0</c:v>
                </c:pt>
                <c:pt idx="1083">
                  <c:v>0</c:v>
                </c:pt>
                <c:pt idx="1084">
                  <c:v>0</c:v>
                </c:pt>
                <c:pt idx="1085">
                  <c:v>0</c:v>
                </c:pt>
                <c:pt idx="1086">
                  <c:v>0</c:v>
                </c:pt>
                <c:pt idx="1087">
                  <c:v>0</c:v>
                </c:pt>
                <c:pt idx="1088">
                  <c:v>0</c:v>
                </c:pt>
                <c:pt idx="1089">
                  <c:v>0</c:v>
                </c:pt>
                <c:pt idx="1090">
                  <c:v>0</c:v>
                </c:pt>
                <c:pt idx="1091">
                  <c:v>0</c:v>
                </c:pt>
                <c:pt idx="1092">
                  <c:v>0</c:v>
                </c:pt>
                <c:pt idx="1093">
                  <c:v>0</c:v>
                </c:pt>
                <c:pt idx="1094">
                  <c:v>0</c:v>
                </c:pt>
                <c:pt idx="1095">
                  <c:v>0</c:v>
                </c:pt>
                <c:pt idx="1096">
                  <c:v>0</c:v>
                </c:pt>
                <c:pt idx="1097">
                  <c:v>0</c:v>
                </c:pt>
                <c:pt idx="1098">
                  <c:v>0</c:v>
                </c:pt>
                <c:pt idx="1099">
                  <c:v>0</c:v>
                </c:pt>
                <c:pt idx="1100">
                  <c:v>0</c:v>
                </c:pt>
                <c:pt idx="1101">
                  <c:v>0</c:v>
                </c:pt>
                <c:pt idx="1102">
                  <c:v>0</c:v>
                </c:pt>
                <c:pt idx="1103">
                  <c:v>0</c:v>
                </c:pt>
                <c:pt idx="1104">
                  <c:v>0</c:v>
                </c:pt>
                <c:pt idx="1105">
                  <c:v>0</c:v>
                </c:pt>
                <c:pt idx="1106">
                  <c:v>0</c:v>
                </c:pt>
                <c:pt idx="1107">
                  <c:v>0</c:v>
                </c:pt>
                <c:pt idx="1108">
                  <c:v>0</c:v>
                </c:pt>
                <c:pt idx="1109">
                  <c:v>0</c:v>
                </c:pt>
                <c:pt idx="1110">
                  <c:v>0</c:v>
                </c:pt>
                <c:pt idx="1111">
                  <c:v>0</c:v>
                </c:pt>
                <c:pt idx="1112">
                  <c:v>0</c:v>
                </c:pt>
                <c:pt idx="1113">
                  <c:v>0</c:v>
                </c:pt>
                <c:pt idx="1114">
                  <c:v>0</c:v>
                </c:pt>
                <c:pt idx="1115">
                  <c:v>0</c:v>
                </c:pt>
                <c:pt idx="1116">
                  <c:v>0</c:v>
                </c:pt>
                <c:pt idx="1117">
                  <c:v>0</c:v>
                </c:pt>
                <c:pt idx="1118">
                  <c:v>0</c:v>
                </c:pt>
                <c:pt idx="1119">
                  <c:v>0</c:v>
                </c:pt>
                <c:pt idx="1120">
                  <c:v>0</c:v>
                </c:pt>
                <c:pt idx="1121">
                  <c:v>0</c:v>
                </c:pt>
                <c:pt idx="1122">
                  <c:v>0</c:v>
                </c:pt>
                <c:pt idx="1123">
                  <c:v>0</c:v>
                </c:pt>
                <c:pt idx="1124">
                  <c:v>0</c:v>
                </c:pt>
                <c:pt idx="1125">
                  <c:v>0</c:v>
                </c:pt>
                <c:pt idx="1126">
                  <c:v>0</c:v>
                </c:pt>
                <c:pt idx="1127">
                  <c:v>0</c:v>
                </c:pt>
                <c:pt idx="1128">
                  <c:v>0</c:v>
                </c:pt>
                <c:pt idx="1129">
                  <c:v>0</c:v>
                </c:pt>
                <c:pt idx="1130">
                  <c:v>0</c:v>
                </c:pt>
                <c:pt idx="1131">
                  <c:v>0</c:v>
                </c:pt>
                <c:pt idx="1132">
                  <c:v>0</c:v>
                </c:pt>
                <c:pt idx="1133">
                  <c:v>0</c:v>
                </c:pt>
                <c:pt idx="1134">
                  <c:v>0</c:v>
                </c:pt>
                <c:pt idx="1135">
                  <c:v>0</c:v>
                </c:pt>
                <c:pt idx="1136">
                  <c:v>0</c:v>
                </c:pt>
                <c:pt idx="1137">
                  <c:v>0</c:v>
                </c:pt>
                <c:pt idx="1138">
                  <c:v>0</c:v>
                </c:pt>
                <c:pt idx="1139">
                  <c:v>0</c:v>
                </c:pt>
                <c:pt idx="1140">
                  <c:v>0</c:v>
                </c:pt>
                <c:pt idx="1141">
                  <c:v>0</c:v>
                </c:pt>
                <c:pt idx="1142">
                  <c:v>0</c:v>
                </c:pt>
                <c:pt idx="1143">
                  <c:v>0</c:v>
                </c:pt>
                <c:pt idx="1144">
                  <c:v>0</c:v>
                </c:pt>
                <c:pt idx="1145">
                  <c:v>0</c:v>
                </c:pt>
                <c:pt idx="1146">
                  <c:v>0</c:v>
                </c:pt>
                <c:pt idx="1147">
                  <c:v>0</c:v>
                </c:pt>
                <c:pt idx="1148">
                  <c:v>0</c:v>
                </c:pt>
                <c:pt idx="1149">
                  <c:v>0</c:v>
                </c:pt>
                <c:pt idx="1150">
                  <c:v>0</c:v>
                </c:pt>
                <c:pt idx="1151">
                  <c:v>0</c:v>
                </c:pt>
                <c:pt idx="1152">
                  <c:v>0</c:v>
                </c:pt>
                <c:pt idx="1153">
                  <c:v>0</c:v>
                </c:pt>
                <c:pt idx="1154">
                  <c:v>0</c:v>
                </c:pt>
                <c:pt idx="1155">
                  <c:v>0</c:v>
                </c:pt>
                <c:pt idx="1156">
                  <c:v>0</c:v>
                </c:pt>
                <c:pt idx="1157">
                  <c:v>0</c:v>
                </c:pt>
                <c:pt idx="1158">
                  <c:v>0</c:v>
                </c:pt>
                <c:pt idx="1159">
                  <c:v>0</c:v>
                </c:pt>
                <c:pt idx="1160">
                  <c:v>0</c:v>
                </c:pt>
                <c:pt idx="1161">
                  <c:v>0</c:v>
                </c:pt>
                <c:pt idx="1162">
                  <c:v>0</c:v>
                </c:pt>
                <c:pt idx="1163">
                  <c:v>0</c:v>
                </c:pt>
                <c:pt idx="1164">
                  <c:v>0</c:v>
                </c:pt>
                <c:pt idx="1165">
                  <c:v>0</c:v>
                </c:pt>
                <c:pt idx="1166">
                  <c:v>0</c:v>
                </c:pt>
                <c:pt idx="1167">
                  <c:v>0</c:v>
                </c:pt>
                <c:pt idx="1168">
                  <c:v>0</c:v>
                </c:pt>
                <c:pt idx="1169">
                  <c:v>0</c:v>
                </c:pt>
                <c:pt idx="1170">
                  <c:v>0</c:v>
                </c:pt>
                <c:pt idx="1171">
                  <c:v>0</c:v>
                </c:pt>
                <c:pt idx="1172">
                  <c:v>0</c:v>
                </c:pt>
                <c:pt idx="1173">
                  <c:v>0</c:v>
                </c:pt>
                <c:pt idx="1174">
                  <c:v>0</c:v>
                </c:pt>
                <c:pt idx="1175">
                  <c:v>0</c:v>
                </c:pt>
                <c:pt idx="1176">
                  <c:v>0</c:v>
                </c:pt>
                <c:pt idx="1177">
                  <c:v>0</c:v>
                </c:pt>
                <c:pt idx="1178">
                  <c:v>0</c:v>
                </c:pt>
                <c:pt idx="1179">
                  <c:v>0</c:v>
                </c:pt>
                <c:pt idx="1180">
                  <c:v>0</c:v>
                </c:pt>
                <c:pt idx="1181">
                  <c:v>0</c:v>
                </c:pt>
                <c:pt idx="1182">
                  <c:v>0</c:v>
                </c:pt>
                <c:pt idx="1183">
                  <c:v>0</c:v>
                </c:pt>
                <c:pt idx="1184">
                  <c:v>0</c:v>
                </c:pt>
                <c:pt idx="1185">
                  <c:v>0</c:v>
                </c:pt>
                <c:pt idx="1186">
                  <c:v>0</c:v>
                </c:pt>
                <c:pt idx="1187">
                  <c:v>0</c:v>
                </c:pt>
                <c:pt idx="1188">
                  <c:v>0</c:v>
                </c:pt>
                <c:pt idx="1189">
                  <c:v>0</c:v>
                </c:pt>
                <c:pt idx="1190">
                  <c:v>0</c:v>
                </c:pt>
                <c:pt idx="1191">
                  <c:v>0</c:v>
                </c:pt>
                <c:pt idx="1192">
                  <c:v>0</c:v>
                </c:pt>
                <c:pt idx="1193">
                  <c:v>0</c:v>
                </c:pt>
                <c:pt idx="1194">
                  <c:v>0</c:v>
                </c:pt>
                <c:pt idx="1195">
                  <c:v>0</c:v>
                </c:pt>
                <c:pt idx="1196">
                  <c:v>0</c:v>
                </c:pt>
                <c:pt idx="1197">
                  <c:v>0</c:v>
                </c:pt>
                <c:pt idx="1198">
                  <c:v>0</c:v>
                </c:pt>
                <c:pt idx="1199">
                  <c:v>0</c:v>
                </c:pt>
                <c:pt idx="1200">
                  <c:v>0</c:v>
                </c:pt>
                <c:pt idx="1201">
                  <c:v>0</c:v>
                </c:pt>
                <c:pt idx="1202">
                  <c:v>0</c:v>
                </c:pt>
                <c:pt idx="1203">
                  <c:v>0</c:v>
                </c:pt>
                <c:pt idx="1204">
                  <c:v>0</c:v>
                </c:pt>
                <c:pt idx="1205">
                  <c:v>0</c:v>
                </c:pt>
                <c:pt idx="1206">
                  <c:v>0</c:v>
                </c:pt>
                <c:pt idx="1207">
                  <c:v>0</c:v>
                </c:pt>
                <c:pt idx="1208">
                  <c:v>0</c:v>
                </c:pt>
                <c:pt idx="1209">
                  <c:v>0</c:v>
                </c:pt>
                <c:pt idx="1210">
                  <c:v>0</c:v>
                </c:pt>
                <c:pt idx="1211">
                  <c:v>0</c:v>
                </c:pt>
                <c:pt idx="1212">
                  <c:v>0</c:v>
                </c:pt>
                <c:pt idx="1213">
                  <c:v>0</c:v>
                </c:pt>
                <c:pt idx="1214">
                  <c:v>0</c:v>
                </c:pt>
                <c:pt idx="1215">
                  <c:v>0</c:v>
                </c:pt>
                <c:pt idx="1216">
                  <c:v>0</c:v>
                </c:pt>
                <c:pt idx="1217">
                  <c:v>0</c:v>
                </c:pt>
                <c:pt idx="1218">
                  <c:v>0</c:v>
                </c:pt>
                <c:pt idx="1219">
                  <c:v>0</c:v>
                </c:pt>
                <c:pt idx="1220">
                  <c:v>0</c:v>
                </c:pt>
                <c:pt idx="1221">
                  <c:v>0</c:v>
                </c:pt>
                <c:pt idx="1222">
                  <c:v>0</c:v>
                </c:pt>
                <c:pt idx="1223">
                  <c:v>0</c:v>
                </c:pt>
                <c:pt idx="1224">
                  <c:v>0</c:v>
                </c:pt>
                <c:pt idx="1225">
                  <c:v>0</c:v>
                </c:pt>
                <c:pt idx="1226">
                  <c:v>0</c:v>
                </c:pt>
                <c:pt idx="1227">
                  <c:v>0</c:v>
                </c:pt>
                <c:pt idx="1228">
                  <c:v>0</c:v>
                </c:pt>
                <c:pt idx="1229">
                  <c:v>0</c:v>
                </c:pt>
                <c:pt idx="1230">
                  <c:v>0</c:v>
                </c:pt>
                <c:pt idx="1231">
                  <c:v>0</c:v>
                </c:pt>
                <c:pt idx="1232">
                  <c:v>0</c:v>
                </c:pt>
                <c:pt idx="1233">
                  <c:v>0</c:v>
                </c:pt>
                <c:pt idx="1234">
                  <c:v>0</c:v>
                </c:pt>
                <c:pt idx="1235">
                  <c:v>0</c:v>
                </c:pt>
                <c:pt idx="1236">
                  <c:v>0</c:v>
                </c:pt>
                <c:pt idx="1237">
                  <c:v>0</c:v>
                </c:pt>
                <c:pt idx="1238">
                  <c:v>0</c:v>
                </c:pt>
                <c:pt idx="1239">
                  <c:v>0</c:v>
                </c:pt>
                <c:pt idx="1240">
                  <c:v>0</c:v>
                </c:pt>
                <c:pt idx="1241">
                  <c:v>0</c:v>
                </c:pt>
                <c:pt idx="1242">
                  <c:v>0</c:v>
                </c:pt>
                <c:pt idx="1243">
                  <c:v>0</c:v>
                </c:pt>
                <c:pt idx="1244">
                  <c:v>0</c:v>
                </c:pt>
                <c:pt idx="1245">
                  <c:v>0</c:v>
                </c:pt>
                <c:pt idx="1246">
                  <c:v>0</c:v>
                </c:pt>
                <c:pt idx="1247">
                  <c:v>0</c:v>
                </c:pt>
                <c:pt idx="1248">
                  <c:v>0</c:v>
                </c:pt>
                <c:pt idx="1249">
                  <c:v>0</c:v>
                </c:pt>
                <c:pt idx="1250">
                  <c:v>0</c:v>
                </c:pt>
                <c:pt idx="1251">
                  <c:v>0</c:v>
                </c:pt>
                <c:pt idx="1252">
                  <c:v>0</c:v>
                </c:pt>
                <c:pt idx="1253">
                  <c:v>0</c:v>
                </c:pt>
                <c:pt idx="1254">
                  <c:v>0</c:v>
                </c:pt>
                <c:pt idx="1255">
                  <c:v>0</c:v>
                </c:pt>
                <c:pt idx="1256">
                  <c:v>0</c:v>
                </c:pt>
                <c:pt idx="1257">
                  <c:v>0</c:v>
                </c:pt>
                <c:pt idx="1258">
                  <c:v>0</c:v>
                </c:pt>
                <c:pt idx="1259">
                  <c:v>0</c:v>
                </c:pt>
                <c:pt idx="1260">
                  <c:v>0</c:v>
                </c:pt>
                <c:pt idx="1261">
                  <c:v>0</c:v>
                </c:pt>
                <c:pt idx="1262">
                  <c:v>0</c:v>
                </c:pt>
                <c:pt idx="1263">
                  <c:v>0</c:v>
                </c:pt>
                <c:pt idx="1264">
                  <c:v>0</c:v>
                </c:pt>
                <c:pt idx="1265">
                  <c:v>0</c:v>
                </c:pt>
                <c:pt idx="1266">
                  <c:v>0</c:v>
                </c:pt>
                <c:pt idx="1267">
                  <c:v>0</c:v>
                </c:pt>
                <c:pt idx="1268">
                  <c:v>0</c:v>
                </c:pt>
                <c:pt idx="1269">
                  <c:v>0</c:v>
                </c:pt>
                <c:pt idx="1270">
                  <c:v>0</c:v>
                </c:pt>
                <c:pt idx="1271">
                  <c:v>0</c:v>
                </c:pt>
                <c:pt idx="1272">
                  <c:v>0</c:v>
                </c:pt>
                <c:pt idx="1273">
                  <c:v>0</c:v>
                </c:pt>
                <c:pt idx="1274">
                  <c:v>0</c:v>
                </c:pt>
                <c:pt idx="1275">
                  <c:v>0</c:v>
                </c:pt>
                <c:pt idx="1276">
                  <c:v>0</c:v>
                </c:pt>
                <c:pt idx="1277">
                  <c:v>0</c:v>
                </c:pt>
                <c:pt idx="1278">
                  <c:v>0</c:v>
                </c:pt>
                <c:pt idx="1279">
                  <c:v>0</c:v>
                </c:pt>
                <c:pt idx="1280">
                  <c:v>0</c:v>
                </c:pt>
                <c:pt idx="1281">
                  <c:v>0</c:v>
                </c:pt>
                <c:pt idx="1282">
                  <c:v>0</c:v>
                </c:pt>
                <c:pt idx="1283">
                  <c:v>0</c:v>
                </c:pt>
                <c:pt idx="1284">
                  <c:v>0</c:v>
                </c:pt>
                <c:pt idx="1285">
                  <c:v>0</c:v>
                </c:pt>
                <c:pt idx="1286">
                  <c:v>0</c:v>
                </c:pt>
                <c:pt idx="1287">
                  <c:v>0</c:v>
                </c:pt>
                <c:pt idx="1288">
                  <c:v>0</c:v>
                </c:pt>
                <c:pt idx="1289">
                  <c:v>0</c:v>
                </c:pt>
                <c:pt idx="1290">
                  <c:v>0</c:v>
                </c:pt>
                <c:pt idx="1291">
                  <c:v>0</c:v>
                </c:pt>
                <c:pt idx="1292">
                  <c:v>0</c:v>
                </c:pt>
                <c:pt idx="1293">
                  <c:v>0</c:v>
                </c:pt>
                <c:pt idx="1294">
                  <c:v>0</c:v>
                </c:pt>
                <c:pt idx="1295">
                  <c:v>0</c:v>
                </c:pt>
                <c:pt idx="1296">
                  <c:v>0</c:v>
                </c:pt>
                <c:pt idx="1297">
                  <c:v>0</c:v>
                </c:pt>
                <c:pt idx="1298">
                  <c:v>0</c:v>
                </c:pt>
                <c:pt idx="1299">
                  <c:v>0</c:v>
                </c:pt>
                <c:pt idx="1300">
                  <c:v>0</c:v>
                </c:pt>
                <c:pt idx="1301">
                  <c:v>0</c:v>
                </c:pt>
                <c:pt idx="1302">
                  <c:v>0</c:v>
                </c:pt>
                <c:pt idx="1303">
                  <c:v>0</c:v>
                </c:pt>
                <c:pt idx="1304">
                  <c:v>0</c:v>
                </c:pt>
                <c:pt idx="1305">
                  <c:v>0</c:v>
                </c:pt>
                <c:pt idx="1306">
                  <c:v>0</c:v>
                </c:pt>
                <c:pt idx="1307">
                  <c:v>0</c:v>
                </c:pt>
                <c:pt idx="1308">
                  <c:v>0</c:v>
                </c:pt>
                <c:pt idx="1309">
                  <c:v>0</c:v>
                </c:pt>
                <c:pt idx="1310">
                  <c:v>0</c:v>
                </c:pt>
                <c:pt idx="1311">
                  <c:v>0</c:v>
                </c:pt>
                <c:pt idx="1312">
                  <c:v>0</c:v>
                </c:pt>
                <c:pt idx="1313">
                  <c:v>0</c:v>
                </c:pt>
                <c:pt idx="1314">
                  <c:v>0</c:v>
                </c:pt>
                <c:pt idx="1315">
                  <c:v>0</c:v>
                </c:pt>
                <c:pt idx="1316">
                  <c:v>0</c:v>
                </c:pt>
                <c:pt idx="1317">
                  <c:v>0</c:v>
                </c:pt>
                <c:pt idx="1318">
                  <c:v>0</c:v>
                </c:pt>
                <c:pt idx="1319">
                  <c:v>0</c:v>
                </c:pt>
                <c:pt idx="1320">
                  <c:v>0</c:v>
                </c:pt>
                <c:pt idx="1321">
                  <c:v>0</c:v>
                </c:pt>
                <c:pt idx="1322">
                  <c:v>0</c:v>
                </c:pt>
                <c:pt idx="1323">
                  <c:v>0</c:v>
                </c:pt>
                <c:pt idx="1324">
                  <c:v>0</c:v>
                </c:pt>
                <c:pt idx="1325">
                  <c:v>0</c:v>
                </c:pt>
                <c:pt idx="1326">
                  <c:v>0</c:v>
                </c:pt>
                <c:pt idx="1327">
                  <c:v>0</c:v>
                </c:pt>
                <c:pt idx="1328">
                  <c:v>0</c:v>
                </c:pt>
                <c:pt idx="1329">
                  <c:v>0</c:v>
                </c:pt>
                <c:pt idx="1330">
                  <c:v>0</c:v>
                </c:pt>
                <c:pt idx="1331">
                  <c:v>0</c:v>
                </c:pt>
                <c:pt idx="1332">
                  <c:v>0</c:v>
                </c:pt>
                <c:pt idx="1333">
                  <c:v>0</c:v>
                </c:pt>
                <c:pt idx="1334">
                  <c:v>0</c:v>
                </c:pt>
                <c:pt idx="1335">
                  <c:v>0</c:v>
                </c:pt>
                <c:pt idx="1336">
                  <c:v>0</c:v>
                </c:pt>
                <c:pt idx="1337">
                  <c:v>0</c:v>
                </c:pt>
                <c:pt idx="1338">
                  <c:v>0</c:v>
                </c:pt>
                <c:pt idx="1339">
                  <c:v>0</c:v>
                </c:pt>
                <c:pt idx="1340">
                  <c:v>0</c:v>
                </c:pt>
                <c:pt idx="1341">
                  <c:v>0</c:v>
                </c:pt>
                <c:pt idx="1342">
                  <c:v>0</c:v>
                </c:pt>
                <c:pt idx="1343">
                  <c:v>0</c:v>
                </c:pt>
                <c:pt idx="1344">
                  <c:v>0</c:v>
                </c:pt>
                <c:pt idx="1345">
                  <c:v>0</c:v>
                </c:pt>
                <c:pt idx="1346">
                  <c:v>0</c:v>
                </c:pt>
                <c:pt idx="1347">
                  <c:v>0</c:v>
                </c:pt>
                <c:pt idx="1348">
                  <c:v>0</c:v>
                </c:pt>
                <c:pt idx="1349">
                  <c:v>0</c:v>
                </c:pt>
                <c:pt idx="1350">
                  <c:v>0</c:v>
                </c:pt>
                <c:pt idx="1351">
                  <c:v>0</c:v>
                </c:pt>
                <c:pt idx="1352">
                  <c:v>0</c:v>
                </c:pt>
                <c:pt idx="1353">
                  <c:v>0</c:v>
                </c:pt>
                <c:pt idx="1354">
                  <c:v>0</c:v>
                </c:pt>
                <c:pt idx="1355">
                  <c:v>0</c:v>
                </c:pt>
                <c:pt idx="1356">
                  <c:v>0</c:v>
                </c:pt>
                <c:pt idx="1357">
                  <c:v>0</c:v>
                </c:pt>
                <c:pt idx="1358">
                  <c:v>0</c:v>
                </c:pt>
                <c:pt idx="1359">
                  <c:v>0</c:v>
                </c:pt>
                <c:pt idx="1360">
                  <c:v>0</c:v>
                </c:pt>
                <c:pt idx="1361">
                  <c:v>0</c:v>
                </c:pt>
                <c:pt idx="1362">
                  <c:v>0</c:v>
                </c:pt>
                <c:pt idx="1363">
                  <c:v>0</c:v>
                </c:pt>
                <c:pt idx="1364">
                  <c:v>0</c:v>
                </c:pt>
                <c:pt idx="1365">
                  <c:v>0</c:v>
                </c:pt>
                <c:pt idx="1366">
                  <c:v>0</c:v>
                </c:pt>
                <c:pt idx="1367">
                  <c:v>0</c:v>
                </c:pt>
                <c:pt idx="1368">
                  <c:v>0</c:v>
                </c:pt>
                <c:pt idx="1369">
                  <c:v>0</c:v>
                </c:pt>
                <c:pt idx="1370">
                  <c:v>0</c:v>
                </c:pt>
                <c:pt idx="1371">
                  <c:v>0</c:v>
                </c:pt>
                <c:pt idx="1372">
                  <c:v>0</c:v>
                </c:pt>
                <c:pt idx="1373">
                  <c:v>0</c:v>
                </c:pt>
                <c:pt idx="1374">
                  <c:v>0</c:v>
                </c:pt>
                <c:pt idx="1375">
                  <c:v>0</c:v>
                </c:pt>
                <c:pt idx="1376">
                  <c:v>0</c:v>
                </c:pt>
                <c:pt idx="1377">
                  <c:v>0</c:v>
                </c:pt>
                <c:pt idx="1378">
                  <c:v>0</c:v>
                </c:pt>
                <c:pt idx="1379">
                  <c:v>0</c:v>
                </c:pt>
                <c:pt idx="1380">
                  <c:v>0</c:v>
                </c:pt>
                <c:pt idx="1381">
                  <c:v>0</c:v>
                </c:pt>
                <c:pt idx="1382">
                  <c:v>0</c:v>
                </c:pt>
                <c:pt idx="1383">
                  <c:v>0</c:v>
                </c:pt>
                <c:pt idx="1384">
                  <c:v>0</c:v>
                </c:pt>
                <c:pt idx="1385">
                  <c:v>0</c:v>
                </c:pt>
                <c:pt idx="1386">
                  <c:v>0</c:v>
                </c:pt>
                <c:pt idx="1387">
                  <c:v>0</c:v>
                </c:pt>
                <c:pt idx="1388">
                  <c:v>0</c:v>
                </c:pt>
                <c:pt idx="1389">
                  <c:v>0</c:v>
                </c:pt>
                <c:pt idx="1390">
                  <c:v>0</c:v>
                </c:pt>
                <c:pt idx="1391">
                  <c:v>0</c:v>
                </c:pt>
                <c:pt idx="1392">
                  <c:v>0</c:v>
                </c:pt>
                <c:pt idx="1393">
                  <c:v>0</c:v>
                </c:pt>
                <c:pt idx="1394">
                  <c:v>0</c:v>
                </c:pt>
                <c:pt idx="1395">
                  <c:v>0</c:v>
                </c:pt>
                <c:pt idx="1396">
                  <c:v>0</c:v>
                </c:pt>
                <c:pt idx="1397">
                  <c:v>0</c:v>
                </c:pt>
                <c:pt idx="1398">
                  <c:v>0</c:v>
                </c:pt>
                <c:pt idx="1399">
                  <c:v>0</c:v>
                </c:pt>
                <c:pt idx="1400">
                  <c:v>0</c:v>
                </c:pt>
                <c:pt idx="1401">
                  <c:v>0</c:v>
                </c:pt>
                <c:pt idx="1402">
                  <c:v>0</c:v>
                </c:pt>
                <c:pt idx="1403">
                  <c:v>0</c:v>
                </c:pt>
                <c:pt idx="1404">
                  <c:v>0</c:v>
                </c:pt>
                <c:pt idx="1405">
                  <c:v>0</c:v>
                </c:pt>
                <c:pt idx="1406">
                  <c:v>0</c:v>
                </c:pt>
                <c:pt idx="1407">
                  <c:v>0</c:v>
                </c:pt>
                <c:pt idx="1408">
                  <c:v>0</c:v>
                </c:pt>
                <c:pt idx="1409">
                  <c:v>0</c:v>
                </c:pt>
                <c:pt idx="1410">
                  <c:v>0</c:v>
                </c:pt>
                <c:pt idx="1411">
                  <c:v>0</c:v>
                </c:pt>
                <c:pt idx="1412">
                  <c:v>0</c:v>
                </c:pt>
                <c:pt idx="1413">
                  <c:v>0</c:v>
                </c:pt>
                <c:pt idx="1414">
                  <c:v>0</c:v>
                </c:pt>
                <c:pt idx="1415">
                  <c:v>0</c:v>
                </c:pt>
                <c:pt idx="1416">
                  <c:v>0</c:v>
                </c:pt>
                <c:pt idx="1417">
                  <c:v>0</c:v>
                </c:pt>
                <c:pt idx="1418">
                  <c:v>0</c:v>
                </c:pt>
                <c:pt idx="1419">
                  <c:v>0</c:v>
                </c:pt>
                <c:pt idx="1420">
                  <c:v>0</c:v>
                </c:pt>
                <c:pt idx="1421">
                  <c:v>0</c:v>
                </c:pt>
                <c:pt idx="1422">
                  <c:v>0</c:v>
                </c:pt>
                <c:pt idx="1423">
                  <c:v>0</c:v>
                </c:pt>
                <c:pt idx="1424">
                  <c:v>0</c:v>
                </c:pt>
                <c:pt idx="1425">
                  <c:v>0</c:v>
                </c:pt>
                <c:pt idx="1426">
                  <c:v>0</c:v>
                </c:pt>
                <c:pt idx="1427">
                  <c:v>0</c:v>
                </c:pt>
                <c:pt idx="1428">
                  <c:v>0</c:v>
                </c:pt>
                <c:pt idx="1429">
                  <c:v>0</c:v>
                </c:pt>
                <c:pt idx="1430">
                  <c:v>0</c:v>
                </c:pt>
                <c:pt idx="1431">
                  <c:v>0</c:v>
                </c:pt>
                <c:pt idx="1432">
                  <c:v>0</c:v>
                </c:pt>
                <c:pt idx="1433">
                  <c:v>0</c:v>
                </c:pt>
                <c:pt idx="1434">
                  <c:v>0</c:v>
                </c:pt>
                <c:pt idx="1435">
                  <c:v>0</c:v>
                </c:pt>
                <c:pt idx="1436">
                  <c:v>0</c:v>
                </c:pt>
                <c:pt idx="1437">
                  <c:v>0</c:v>
                </c:pt>
                <c:pt idx="1438">
                  <c:v>0</c:v>
                </c:pt>
                <c:pt idx="1439">
                  <c:v>0</c:v>
                </c:pt>
                <c:pt idx="1440">
                  <c:v>0</c:v>
                </c:pt>
                <c:pt idx="1441">
                  <c:v>0</c:v>
                </c:pt>
                <c:pt idx="1442">
                  <c:v>0</c:v>
                </c:pt>
                <c:pt idx="1443">
                  <c:v>0</c:v>
                </c:pt>
                <c:pt idx="1444">
                  <c:v>0</c:v>
                </c:pt>
                <c:pt idx="1445">
                  <c:v>0</c:v>
                </c:pt>
                <c:pt idx="1446">
                  <c:v>0</c:v>
                </c:pt>
                <c:pt idx="1447">
                  <c:v>0</c:v>
                </c:pt>
                <c:pt idx="1448">
                  <c:v>0</c:v>
                </c:pt>
                <c:pt idx="1449">
                  <c:v>0</c:v>
                </c:pt>
                <c:pt idx="1450">
                  <c:v>0</c:v>
                </c:pt>
                <c:pt idx="1451">
                  <c:v>0</c:v>
                </c:pt>
                <c:pt idx="1452">
                  <c:v>0</c:v>
                </c:pt>
                <c:pt idx="1453">
                  <c:v>0</c:v>
                </c:pt>
                <c:pt idx="1454">
                  <c:v>0</c:v>
                </c:pt>
                <c:pt idx="1455">
                  <c:v>0</c:v>
                </c:pt>
                <c:pt idx="1456">
                  <c:v>0</c:v>
                </c:pt>
                <c:pt idx="1457">
                  <c:v>0</c:v>
                </c:pt>
                <c:pt idx="1458">
                  <c:v>0</c:v>
                </c:pt>
                <c:pt idx="1459">
                  <c:v>0</c:v>
                </c:pt>
                <c:pt idx="1460">
                  <c:v>0</c:v>
                </c:pt>
                <c:pt idx="1461">
                  <c:v>0</c:v>
                </c:pt>
                <c:pt idx="1462">
                  <c:v>0</c:v>
                </c:pt>
                <c:pt idx="1463">
                  <c:v>0</c:v>
                </c:pt>
                <c:pt idx="1464">
                  <c:v>0</c:v>
                </c:pt>
                <c:pt idx="1465">
                  <c:v>0</c:v>
                </c:pt>
                <c:pt idx="1466">
                  <c:v>0</c:v>
                </c:pt>
                <c:pt idx="1467">
                  <c:v>0</c:v>
                </c:pt>
                <c:pt idx="1468">
                  <c:v>0</c:v>
                </c:pt>
                <c:pt idx="1469">
                  <c:v>0</c:v>
                </c:pt>
                <c:pt idx="1470">
                  <c:v>0</c:v>
                </c:pt>
                <c:pt idx="1471">
                  <c:v>0</c:v>
                </c:pt>
                <c:pt idx="1472">
                  <c:v>0</c:v>
                </c:pt>
                <c:pt idx="1473">
                  <c:v>0</c:v>
                </c:pt>
                <c:pt idx="1474">
                  <c:v>0</c:v>
                </c:pt>
                <c:pt idx="1475">
                  <c:v>0</c:v>
                </c:pt>
                <c:pt idx="1476">
                  <c:v>0</c:v>
                </c:pt>
                <c:pt idx="1477">
                  <c:v>0</c:v>
                </c:pt>
                <c:pt idx="1478">
                  <c:v>0</c:v>
                </c:pt>
                <c:pt idx="1479">
                  <c:v>0</c:v>
                </c:pt>
                <c:pt idx="1480">
                  <c:v>0</c:v>
                </c:pt>
                <c:pt idx="1481">
                  <c:v>0</c:v>
                </c:pt>
                <c:pt idx="1482">
                  <c:v>0</c:v>
                </c:pt>
                <c:pt idx="1483">
                  <c:v>0</c:v>
                </c:pt>
                <c:pt idx="1484">
                  <c:v>0</c:v>
                </c:pt>
                <c:pt idx="1485">
                  <c:v>0</c:v>
                </c:pt>
                <c:pt idx="1486">
                  <c:v>0</c:v>
                </c:pt>
                <c:pt idx="1487">
                  <c:v>0</c:v>
                </c:pt>
                <c:pt idx="1488">
                  <c:v>0</c:v>
                </c:pt>
                <c:pt idx="1489">
                  <c:v>0</c:v>
                </c:pt>
                <c:pt idx="1490">
                  <c:v>0</c:v>
                </c:pt>
                <c:pt idx="1491">
                  <c:v>0</c:v>
                </c:pt>
                <c:pt idx="1492">
                  <c:v>0</c:v>
                </c:pt>
                <c:pt idx="1493">
                  <c:v>0</c:v>
                </c:pt>
                <c:pt idx="1494">
                  <c:v>0</c:v>
                </c:pt>
                <c:pt idx="1495">
                  <c:v>0</c:v>
                </c:pt>
                <c:pt idx="1496">
                  <c:v>0</c:v>
                </c:pt>
                <c:pt idx="1497">
                  <c:v>0</c:v>
                </c:pt>
                <c:pt idx="1498">
                  <c:v>0</c:v>
                </c:pt>
                <c:pt idx="1499">
                  <c:v>0</c:v>
                </c:pt>
                <c:pt idx="1500">
                  <c:v>0</c:v>
                </c:pt>
                <c:pt idx="1501">
                  <c:v>0</c:v>
                </c:pt>
                <c:pt idx="1502">
                  <c:v>0</c:v>
                </c:pt>
                <c:pt idx="1503">
                  <c:v>0</c:v>
                </c:pt>
                <c:pt idx="1504">
                  <c:v>0</c:v>
                </c:pt>
                <c:pt idx="1505">
                  <c:v>0</c:v>
                </c:pt>
                <c:pt idx="1506">
                  <c:v>0</c:v>
                </c:pt>
                <c:pt idx="1507">
                  <c:v>0</c:v>
                </c:pt>
                <c:pt idx="1508">
                  <c:v>0</c:v>
                </c:pt>
                <c:pt idx="1509">
                  <c:v>0</c:v>
                </c:pt>
                <c:pt idx="1510">
                  <c:v>0</c:v>
                </c:pt>
                <c:pt idx="1511">
                  <c:v>0</c:v>
                </c:pt>
                <c:pt idx="1512">
                  <c:v>0</c:v>
                </c:pt>
                <c:pt idx="1513">
                  <c:v>0</c:v>
                </c:pt>
                <c:pt idx="1514">
                  <c:v>0</c:v>
                </c:pt>
                <c:pt idx="1515">
                  <c:v>0</c:v>
                </c:pt>
                <c:pt idx="1516">
                  <c:v>0</c:v>
                </c:pt>
                <c:pt idx="1517">
                  <c:v>0</c:v>
                </c:pt>
                <c:pt idx="1518">
                  <c:v>0</c:v>
                </c:pt>
                <c:pt idx="1519">
                  <c:v>0</c:v>
                </c:pt>
                <c:pt idx="1520">
                  <c:v>0</c:v>
                </c:pt>
                <c:pt idx="1521">
                  <c:v>0</c:v>
                </c:pt>
                <c:pt idx="1522">
                  <c:v>0</c:v>
                </c:pt>
                <c:pt idx="1523">
                  <c:v>0</c:v>
                </c:pt>
                <c:pt idx="1524">
                  <c:v>0</c:v>
                </c:pt>
                <c:pt idx="1525">
                  <c:v>0</c:v>
                </c:pt>
                <c:pt idx="1526">
                  <c:v>0</c:v>
                </c:pt>
                <c:pt idx="1527">
                  <c:v>0</c:v>
                </c:pt>
                <c:pt idx="1528">
                  <c:v>0</c:v>
                </c:pt>
                <c:pt idx="1529">
                  <c:v>0</c:v>
                </c:pt>
                <c:pt idx="1530">
                  <c:v>0</c:v>
                </c:pt>
                <c:pt idx="1531">
                  <c:v>0</c:v>
                </c:pt>
                <c:pt idx="1532">
                  <c:v>0</c:v>
                </c:pt>
                <c:pt idx="1533">
                  <c:v>0</c:v>
                </c:pt>
                <c:pt idx="1534">
                  <c:v>0</c:v>
                </c:pt>
                <c:pt idx="1535">
                  <c:v>0</c:v>
                </c:pt>
                <c:pt idx="1536">
                  <c:v>0</c:v>
                </c:pt>
                <c:pt idx="1537">
                  <c:v>0</c:v>
                </c:pt>
                <c:pt idx="1538">
                  <c:v>0</c:v>
                </c:pt>
                <c:pt idx="1539">
                  <c:v>0</c:v>
                </c:pt>
                <c:pt idx="1540">
                  <c:v>0</c:v>
                </c:pt>
                <c:pt idx="1541">
                  <c:v>0</c:v>
                </c:pt>
                <c:pt idx="1542">
                  <c:v>0</c:v>
                </c:pt>
                <c:pt idx="1543">
                  <c:v>0</c:v>
                </c:pt>
                <c:pt idx="1544">
                  <c:v>0</c:v>
                </c:pt>
                <c:pt idx="1545">
                  <c:v>0</c:v>
                </c:pt>
                <c:pt idx="1546">
                  <c:v>0</c:v>
                </c:pt>
                <c:pt idx="1547">
                  <c:v>0</c:v>
                </c:pt>
                <c:pt idx="1548">
                  <c:v>0</c:v>
                </c:pt>
                <c:pt idx="1549">
                  <c:v>0</c:v>
                </c:pt>
                <c:pt idx="1550">
                  <c:v>0</c:v>
                </c:pt>
                <c:pt idx="1551">
                  <c:v>0</c:v>
                </c:pt>
                <c:pt idx="1552">
                  <c:v>0</c:v>
                </c:pt>
                <c:pt idx="1553">
                  <c:v>0</c:v>
                </c:pt>
                <c:pt idx="1554">
                  <c:v>0</c:v>
                </c:pt>
                <c:pt idx="1555">
                  <c:v>0</c:v>
                </c:pt>
                <c:pt idx="1556">
                  <c:v>0</c:v>
                </c:pt>
                <c:pt idx="1557">
                  <c:v>0</c:v>
                </c:pt>
                <c:pt idx="1558">
                  <c:v>0</c:v>
                </c:pt>
                <c:pt idx="1559">
                  <c:v>0</c:v>
                </c:pt>
                <c:pt idx="1560">
                  <c:v>0</c:v>
                </c:pt>
                <c:pt idx="1561">
                  <c:v>0</c:v>
                </c:pt>
                <c:pt idx="1562">
                  <c:v>0</c:v>
                </c:pt>
                <c:pt idx="1563">
                  <c:v>0</c:v>
                </c:pt>
                <c:pt idx="1564">
                  <c:v>0</c:v>
                </c:pt>
                <c:pt idx="1565">
                  <c:v>0</c:v>
                </c:pt>
                <c:pt idx="1566">
                  <c:v>0</c:v>
                </c:pt>
                <c:pt idx="1567">
                  <c:v>0</c:v>
                </c:pt>
                <c:pt idx="1568">
                  <c:v>0</c:v>
                </c:pt>
                <c:pt idx="1569">
                  <c:v>0</c:v>
                </c:pt>
                <c:pt idx="1570">
                  <c:v>0</c:v>
                </c:pt>
                <c:pt idx="1571">
                  <c:v>0</c:v>
                </c:pt>
                <c:pt idx="1572">
                  <c:v>0</c:v>
                </c:pt>
                <c:pt idx="1573">
                  <c:v>0</c:v>
                </c:pt>
                <c:pt idx="1574">
                  <c:v>0</c:v>
                </c:pt>
                <c:pt idx="1575">
                  <c:v>0</c:v>
                </c:pt>
                <c:pt idx="1576">
                  <c:v>0</c:v>
                </c:pt>
                <c:pt idx="1577">
                  <c:v>0</c:v>
                </c:pt>
                <c:pt idx="1578">
                  <c:v>0</c:v>
                </c:pt>
                <c:pt idx="1579">
                  <c:v>0</c:v>
                </c:pt>
                <c:pt idx="1580">
                  <c:v>0</c:v>
                </c:pt>
                <c:pt idx="1581">
                  <c:v>0</c:v>
                </c:pt>
                <c:pt idx="1582">
                  <c:v>0</c:v>
                </c:pt>
                <c:pt idx="1583">
                  <c:v>0</c:v>
                </c:pt>
                <c:pt idx="1584">
                  <c:v>0</c:v>
                </c:pt>
                <c:pt idx="1585">
                  <c:v>0</c:v>
                </c:pt>
                <c:pt idx="1586">
                  <c:v>0</c:v>
                </c:pt>
                <c:pt idx="1587">
                  <c:v>0</c:v>
                </c:pt>
                <c:pt idx="1588">
                  <c:v>0</c:v>
                </c:pt>
                <c:pt idx="1589">
                  <c:v>0</c:v>
                </c:pt>
                <c:pt idx="1590">
                  <c:v>0</c:v>
                </c:pt>
                <c:pt idx="1591">
                  <c:v>0</c:v>
                </c:pt>
                <c:pt idx="1592">
                  <c:v>0</c:v>
                </c:pt>
                <c:pt idx="1593">
                  <c:v>0</c:v>
                </c:pt>
                <c:pt idx="1594">
                  <c:v>0</c:v>
                </c:pt>
                <c:pt idx="1595">
                  <c:v>0</c:v>
                </c:pt>
                <c:pt idx="1596">
                  <c:v>0</c:v>
                </c:pt>
                <c:pt idx="1597">
                  <c:v>0</c:v>
                </c:pt>
                <c:pt idx="1598">
                  <c:v>0</c:v>
                </c:pt>
                <c:pt idx="1599">
                  <c:v>0</c:v>
                </c:pt>
                <c:pt idx="1600">
                  <c:v>0</c:v>
                </c:pt>
                <c:pt idx="1601">
                  <c:v>10</c:v>
                </c:pt>
                <c:pt idx="1602">
                  <c:v>20</c:v>
                </c:pt>
                <c:pt idx="1603">
                  <c:v>30</c:v>
                </c:pt>
                <c:pt idx="1604">
                  <c:v>40</c:v>
                </c:pt>
                <c:pt idx="1605">
                  <c:v>50</c:v>
                </c:pt>
                <c:pt idx="1606">
                  <c:v>60</c:v>
                </c:pt>
                <c:pt idx="1607">
                  <c:v>70</c:v>
                </c:pt>
                <c:pt idx="1608">
                  <c:v>80</c:v>
                </c:pt>
                <c:pt idx="1609">
                  <c:v>90</c:v>
                </c:pt>
                <c:pt idx="1610">
                  <c:v>100</c:v>
                </c:pt>
                <c:pt idx="1611">
                  <c:v>110</c:v>
                </c:pt>
                <c:pt idx="1612">
                  <c:v>120</c:v>
                </c:pt>
                <c:pt idx="1613">
                  <c:v>130</c:v>
                </c:pt>
                <c:pt idx="1614">
                  <c:v>140</c:v>
                </c:pt>
                <c:pt idx="1615">
                  <c:v>150</c:v>
                </c:pt>
                <c:pt idx="1616">
                  <c:v>160</c:v>
                </c:pt>
                <c:pt idx="1617">
                  <c:v>170</c:v>
                </c:pt>
                <c:pt idx="1618">
                  <c:v>180</c:v>
                </c:pt>
                <c:pt idx="1619">
                  <c:v>190</c:v>
                </c:pt>
                <c:pt idx="1620">
                  <c:v>200</c:v>
                </c:pt>
                <c:pt idx="1621">
                  <c:v>210</c:v>
                </c:pt>
                <c:pt idx="1622">
                  <c:v>220</c:v>
                </c:pt>
                <c:pt idx="1623">
                  <c:v>230</c:v>
                </c:pt>
                <c:pt idx="1624">
                  <c:v>240</c:v>
                </c:pt>
                <c:pt idx="1625">
                  <c:v>250</c:v>
                </c:pt>
                <c:pt idx="1626">
                  <c:v>260</c:v>
                </c:pt>
                <c:pt idx="1627">
                  <c:v>270</c:v>
                </c:pt>
                <c:pt idx="1628">
                  <c:v>280</c:v>
                </c:pt>
                <c:pt idx="1629">
                  <c:v>290</c:v>
                </c:pt>
                <c:pt idx="1630">
                  <c:v>300</c:v>
                </c:pt>
                <c:pt idx="1631">
                  <c:v>310</c:v>
                </c:pt>
                <c:pt idx="1632">
                  <c:v>320</c:v>
                </c:pt>
                <c:pt idx="1633">
                  <c:v>330</c:v>
                </c:pt>
                <c:pt idx="1634">
                  <c:v>340</c:v>
                </c:pt>
                <c:pt idx="1635">
                  <c:v>350</c:v>
                </c:pt>
                <c:pt idx="1636">
                  <c:v>360</c:v>
                </c:pt>
                <c:pt idx="1637">
                  <c:v>370</c:v>
                </c:pt>
                <c:pt idx="1638">
                  <c:v>380</c:v>
                </c:pt>
                <c:pt idx="1639">
                  <c:v>390</c:v>
                </c:pt>
                <c:pt idx="1640">
                  <c:v>400</c:v>
                </c:pt>
                <c:pt idx="1641">
                  <c:v>410</c:v>
                </c:pt>
                <c:pt idx="1642">
                  <c:v>420</c:v>
                </c:pt>
                <c:pt idx="1643">
                  <c:v>430</c:v>
                </c:pt>
                <c:pt idx="1644">
                  <c:v>440</c:v>
                </c:pt>
                <c:pt idx="1645">
                  <c:v>450</c:v>
                </c:pt>
                <c:pt idx="1646">
                  <c:v>460</c:v>
                </c:pt>
                <c:pt idx="1647">
                  <c:v>470</c:v>
                </c:pt>
                <c:pt idx="1648">
                  <c:v>480</c:v>
                </c:pt>
                <c:pt idx="1649">
                  <c:v>490</c:v>
                </c:pt>
                <c:pt idx="1650">
                  <c:v>500</c:v>
                </c:pt>
                <c:pt idx="1651">
                  <c:v>510</c:v>
                </c:pt>
                <c:pt idx="1652">
                  <c:v>520</c:v>
                </c:pt>
                <c:pt idx="1653">
                  <c:v>530</c:v>
                </c:pt>
                <c:pt idx="1654">
                  <c:v>540</c:v>
                </c:pt>
                <c:pt idx="1655">
                  <c:v>550</c:v>
                </c:pt>
                <c:pt idx="1656">
                  <c:v>560</c:v>
                </c:pt>
                <c:pt idx="1657">
                  <c:v>570</c:v>
                </c:pt>
                <c:pt idx="1658">
                  <c:v>580</c:v>
                </c:pt>
                <c:pt idx="1659">
                  <c:v>590</c:v>
                </c:pt>
                <c:pt idx="1660">
                  <c:v>600</c:v>
                </c:pt>
                <c:pt idx="1661">
                  <c:v>610</c:v>
                </c:pt>
                <c:pt idx="1662">
                  <c:v>620</c:v>
                </c:pt>
                <c:pt idx="1663">
                  <c:v>630</c:v>
                </c:pt>
                <c:pt idx="1664">
                  <c:v>640</c:v>
                </c:pt>
                <c:pt idx="1665">
                  <c:v>650</c:v>
                </c:pt>
                <c:pt idx="1666">
                  <c:v>660</c:v>
                </c:pt>
                <c:pt idx="1667">
                  <c:v>670</c:v>
                </c:pt>
                <c:pt idx="1668">
                  <c:v>680</c:v>
                </c:pt>
                <c:pt idx="1669">
                  <c:v>690</c:v>
                </c:pt>
                <c:pt idx="1670">
                  <c:v>700</c:v>
                </c:pt>
                <c:pt idx="1671">
                  <c:v>710</c:v>
                </c:pt>
                <c:pt idx="1672">
                  <c:v>720</c:v>
                </c:pt>
                <c:pt idx="1673">
                  <c:v>730</c:v>
                </c:pt>
                <c:pt idx="1674">
                  <c:v>740</c:v>
                </c:pt>
                <c:pt idx="1675">
                  <c:v>750</c:v>
                </c:pt>
                <c:pt idx="1676">
                  <c:v>760</c:v>
                </c:pt>
                <c:pt idx="1677">
                  <c:v>770</c:v>
                </c:pt>
                <c:pt idx="1678">
                  <c:v>780</c:v>
                </c:pt>
                <c:pt idx="1679">
                  <c:v>790</c:v>
                </c:pt>
                <c:pt idx="1680">
                  <c:v>800</c:v>
                </c:pt>
                <c:pt idx="1681">
                  <c:v>810</c:v>
                </c:pt>
                <c:pt idx="1682">
                  <c:v>820</c:v>
                </c:pt>
                <c:pt idx="1683">
                  <c:v>830</c:v>
                </c:pt>
                <c:pt idx="1684">
                  <c:v>840</c:v>
                </c:pt>
                <c:pt idx="1685">
                  <c:v>850</c:v>
                </c:pt>
                <c:pt idx="1686">
                  <c:v>860</c:v>
                </c:pt>
                <c:pt idx="1687">
                  <c:v>870</c:v>
                </c:pt>
                <c:pt idx="1688">
                  <c:v>880</c:v>
                </c:pt>
                <c:pt idx="1689">
                  <c:v>890</c:v>
                </c:pt>
                <c:pt idx="1690">
                  <c:v>900</c:v>
                </c:pt>
                <c:pt idx="1691">
                  <c:v>910</c:v>
                </c:pt>
                <c:pt idx="1692">
                  <c:v>920</c:v>
                </c:pt>
                <c:pt idx="1693">
                  <c:v>930</c:v>
                </c:pt>
                <c:pt idx="1694">
                  <c:v>940</c:v>
                </c:pt>
                <c:pt idx="1695">
                  <c:v>950</c:v>
                </c:pt>
                <c:pt idx="1696">
                  <c:v>960</c:v>
                </c:pt>
                <c:pt idx="1697">
                  <c:v>970</c:v>
                </c:pt>
                <c:pt idx="1698">
                  <c:v>980</c:v>
                </c:pt>
                <c:pt idx="1699">
                  <c:v>990</c:v>
                </c:pt>
                <c:pt idx="1700">
                  <c:v>1000</c:v>
                </c:pt>
                <c:pt idx="1701">
                  <c:v>1010</c:v>
                </c:pt>
                <c:pt idx="1702">
                  <c:v>1020</c:v>
                </c:pt>
                <c:pt idx="1703">
                  <c:v>1030</c:v>
                </c:pt>
                <c:pt idx="1704">
                  <c:v>1040</c:v>
                </c:pt>
                <c:pt idx="1705">
                  <c:v>1050</c:v>
                </c:pt>
                <c:pt idx="1706">
                  <c:v>1060</c:v>
                </c:pt>
                <c:pt idx="1707">
                  <c:v>1070</c:v>
                </c:pt>
                <c:pt idx="1708">
                  <c:v>1080</c:v>
                </c:pt>
                <c:pt idx="1709">
                  <c:v>1090</c:v>
                </c:pt>
                <c:pt idx="1710">
                  <c:v>1100</c:v>
                </c:pt>
                <c:pt idx="1711">
                  <c:v>1110</c:v>
                </c:pt>
                <c:pt idx="1712">
                  <c:v>1120</c:v>
                </c:pt>
                <c:pt idx="1713">
                  <c:v>1130</c:v>
                </c:pt>
                <c:pt idx="1714">
                  <c:v>1140</c:v>
                </c:pt>
                <c:pt idx="1715">
                  <c:v>1150</c:v>
                </c:pt>
                <c:pt idx="1716">
                  <c:v>1160</c:v>
                </c:pt>
                <c:pt idx="1717">
                  <c:v>1170</c:v>
                </c:pt>
                <c:pt idx="1718">
                  <c:v>1180</c:v>
                </c:pt>
                <c:pt idx="1719">
                  <c:v>1190</c:v>
                </c:pt>
                <c:pt idx="1720">
                  <c:v>1200</c:v>
                </c:pt>
                <c:pt idx="1721">
                  <c:v>1210</c:v>
                </c:pt>
                <c:pt idx="1722">
                  <c:v>1220</c:v>
                </c:pt>
                <c:pt idx="1723">
                  <c:v>1230</c:v>
                </c:pt>
                <c:pt idx="1724">
                  <c:v>1240</c:v>
                </c:pt>
                <c:pt idx="1725">
                  <c:v>1250</c:v>
                </c:pt>
                <c:pt idx="1726">
                  <c:v>1260</c:v>
                </c:pt>
                <c:pt idx="1727">
                  <c:v>1270</c:v>
                </c:pt>
                <c:pt idx="1728">
                  <c:v>1280</c:v>
                </c:pt>
                <c:pt idx="1729">
                  <c:v>1290</c:v>
                </c:pt>
                <c:pt idx="1730">
                  <c:v>1300</c:v>
                </c:pt>
                <c:pt idx="1731">
                  <c:v>1310</c:v>
                </c:pt>
                <c:pt idx="1732">
                  <c:v>1320</c:v>
                </c:pt>
                <c:pt idx="1733">
                  <c:v>1330</c:v>
                </c:pt>
                <c:pt idx="1734">
                  <c:v>1340</c:v>
                </c:pt>
                <c:pt idx="1735">
                  <c:v>1350</c:v>
                </c:pt>
                <c:pt idx="1736">
                  <c:v>1360</c:v>
                </c:pt>
                <c:pt idx="1737">
                  <c:v>1370</c:v>
                </c:pt>
                <c:pt idx="1738">
                  <c:v>1380</c:v>
                </c:pt>
                <c:pt idx="1739">
                  <c:v>1390</c:v>
                </c:pt>
                <c:pt idx="1740">
                  <c:v>1400</c:v>
                </c:pt>
                <c:pt idx="1741">
                  <c:v>1410</c:v>
                </c:pt>
                <c:pt idx="1742">
                  <c:v>1420</c:v>
                </c:pt>
                <c:pt idx="1743">
                  <c:v>1430</c:v>
                </c:pt>
                <c:pt idx="1744">
                  <c:v>1440</c:v>
                </c:pt>
                <c:pt idx="1745">
                  <c:v>1450</c:v>
                </c:pt>
                <c:pt idx="1746">
                  <c:v>1460</c:v>
                </c:pt>
                <c:pt idx="1747">
                  <c:v>1470</c:v>
                </c:pt>
                <c:pt idx="1748">
                  <c:v>1480</c:v>
                </c:pt>
                <c:pt idx="1749">
                  <c:v>1490</c:v>
                </c:pt>
                <c:pt idx="1750">
                  <c:v>1500</c:v>
                </c:pt>
                <c:pt idx="1751">
                  <c:v>1510</c:v>
                </c:pt>
                <c:pt idx="1752">
                  <c:v>1520</c:v>
                </c:pt>
                <c:pt idx="1753">
                  <c:v>1530</c:v>
                </c:pt>
                <c:pt idx="1754">
                  <c:v>1540</c:v>
                </c:pt>
                <c:pt idx="1755">
                  <c:v>1550</c:v>
                </c:pt>
                <c:pt idx="1756">
                  <c:v>1560</c:v>
                </c:pt>
                <c:pt idx="1757">
                  <c:v>1570</c:v>
                </c:pt>
                <c:pt idx="1758">
                  <c:v>1580</c:v>
                </c:pt>
                <c:pt idx="1759">
                  <c:v>1590</c:v>
                </c:pt>
                <c:pt idx="1760">
                  <c:v>1600</c:v>
                </c:pt>
                <c:pt idx="1761">
                  <c:v>1610</c:v>
                </c:pt>
                <c:pt idx="1762">
                  <c:v>1620</c:v>
                </c:pt>
                <c:pt idx="1763">
                  <c:v>1630</c:v>
                </c:pt>
                <c:pt idx="1764">
                  <c:v>1640</c:v>
                </c:pt>
                <c:pt idx="1765">
                  <c:v>1650</c:v>
                </c:pt>
                <c:pt idx="1766">
                  <c:v>1660</c:v>
                </c:pt>
                <c:pt idx="1767">
                  <c:v>1670</c:v>
                </c:pt>
                <c:pt idx="1768">
                  <c:v>1680</c:v>
                </c:pt>
                <c:pt idx="1769">
                  <c:v>1690</c:v>
                </c:pt>
                <c:pt idx="1770">
                  <c:v>1700</c:v>
                </c:pt>
                <c:pt idx="1771">
                  <c:v>1710</c:v>
                </c:pt>
                <c:pt idx="1772">
                  <c:v>1720</c:v>
                </c:pt>
                <c:pt idx="1773">
                  <c:v>1730</c:v>
                </c:pt>
                <c:pt idx="1774">
                  <c:v>1740</c:v>
                </c:pt>
                <c:pt idx="1775">
                  <c:v>1750</c:v>
                </c:pt>
                <c:pt idx="1776">
                  <c:v>1760</c:v>
                </c:pt>
                <c:pt idx="1777">
                  <c:v>1770</c:v>
                </c:pt>
                <c:pt idx="1778">
                  <c:v>1780</c:v>
                </c:pt>
                <c:pt idx="1779">
                  <c:v>1790</c:v>
                </c:pt>
                <c:pt idx="1780">
                  <c:v>1800</c:v>
                </c:pt>
                <c:pt idx="1781">
                  <c:v>1810</c:v>
                </c:pt>
                <c:pt idx="1782">
                  <c:v>1820</c:v>
                </c:pt>
                <c:pt idx="1783">
                  <c:v>1830</c:v>
                </c:pt>
                <c:pt idx="1784">
                  <c:v>1840</c:v>
                </c:pt>
                <c:pt idx="1785">
                  <c:v>1850</c:v>
                </c:pt>
                <c:pt idx="1786">
                  <c:v>1860</c:v>
                </c:pt>
                <c:pt idx="1787">
                  <c:v>1870</c:v>
                </c:pt>
                <c:pt idx="1788">
                  <c:v>1880</c:v>
                </c:pt>
                <c:pt idx="1789">
                  <c:v>1890</c:v>
                </c:pt>
                <c:pt idx="1790">
                  <c:v>1900</c:v>
                </c:pt>
                <c:pt idx="1791">
                  <c:v>1910</c:v>
                </c:pt>
                <c:pt idx="1792">
                  <c:v>1920</c:v>
                </c:pt>
                <c:pt idx="1793">
                  <c:v>1930</c:v>
                </c:pt>
                <c:pt idx="1794">
                  <c:v>1940</c:v>
                </c:pt>
                <c:pt idx="1795">
                  <c:v>1950</c:v>
                </c:pt>
                <c:pt idx="1796">
                  <c:v>1960</c:v>
                </c:pt>
                <c:pt idx="1797">
                  <c:v>1970</c:v>
                </c:pt>
                <c:pt idx="1798">
                  <c:v>1980</c:v>
                </c:pt>
                <c:pt idx="1799">
                  <c:v>1990</c:v>
                </c:pt>
                <c:pt idx="1800" formatCode="_-* #\ ##0_-;\-* #\ ##0_-;_-* &quot;-&quot;??_-;_-@_-">
                  <c:v>2000</c:v>
                </c:pt>
                <c:pt idx="1801" formatCode="_-* #\ ##0_-;\-* #\ ##0_-;_-* &quot;-&quot;??_-;_-@_-">
                  <c:v>2015</c:v>
                </c:pt>
                <c:pt idx="1802" formatCode="_-* #\ ##0_-;\-* #\ ##0_-;_-* &quot;-&quot;??_-;_-@_-">
                  <c:v>2030</c:v>
                </c:pt>
                <c:pt idx="1803" formatCode="_-* #\ ##0_-;\-* #\ ##0_-;_-* &quot;-&quot;??_-;_-@_-">
                  <c:v>2045</c:v>
                </c:pt>
                <c:pt idx="1804" formatCode="_-* #\ ##0_-;\-* #\ ##0_-;_-* &quot;-&quot;??_-;_-@_-">
                  <c:v>2060</c:v>
                </c:pt>
                <c:pt idx="1805" formatCode="_-* #\ ##0_-;\-* #\ ##0_-;_-* &quot;-&quot;??_-;_-@_-">
                  <c:v>2075</c:v>
                </c:pt>
                <c:pt idx="1806" formatCode="_-* #\ ##0_-;\-* #\ ##0_-;_-* &quot;-&quot;??_-;_-@_-">
                  <c:v>2090</c:v>
                </c:pt>
                <c:pt idx="1807" formatCode="_-* #\ ##0_-;\-* #\ ##0_-;_-* &quot;-&quot;??_-;_-@_-">
                  <c:v>2105</c:v>
                </c:pt>
                <c:pt idx="1808" formatCode="_-* #\ ##0_-;\-* #\ ##0_-;_-* &quot;-&quot;??_-;_-@_-">
                  <c:v>2120</c:v>
                </c:pt>
                <c:pt idx="1809" formatCode="_-* #\ ##0_-;\-* #\ ##0_-;_-* &quot;-&quot;??_-;_-@_-">
                  <c:v>2135</c:v>
                </c:pt>
                <c:pt idx="1810" formatCode="_-* #\ ##0_-;\-* #\ ##0_-;_-* &quot;-&quot;??_-;_-@_-">
                  <c:v>2150</c:v>
                </c:pt>
                <c:pt idx="1811" formatCode="_-* #\ ##0_-;\-* #\ ##0_-;_-* &quot;-&quot;??_-;_-@_-">
                  <c:v>2165</c:v>
                </c:pt>
                <c:pt idx="1812" formatCode="_-* #\ ##0_-;\-* #\ ##0_-;_-* &quot;-&quot;??_-;_-@_-">
                  <c:v>2180</c:v>
                </c:pt>
                <c:pt idx="1813" formatCode="_-* #\ ##0_-;\-* #\ ##0_-;_-* &quot;-&quot;??_-;_-@_-">
                  <c:v>2195</c:v>
                </c:pt>
                <c:pt idx="1814" formatCode="_-* #\ ##0_-;\-* #\ ##0_-;_-* &quot;-&quot;??_-;_-@_-">
                  <c:v>2210</c:v>
                </c:pt>
                <c:pt idx="1815" formatCode="_-* #\ ##0_-;\-* #\ ##0_-;_-* &quot;-&quot;??_-;_-@_-">
                  <c:v>2225</c:v>
                </c:pt>
                <c:pt idx="1816" formatCode="_-* #\ ##0_-;\-* #\ ##0_-;_-* &quot;-&quot;??_-;_-@_-">
                  <c:v>2240</c:v>
                </c:pt>
                <c:pt idx="1817" formatCode="_-* #\ ##0_-;\-* #\ ##0_-;_-* &quot;-&quot;??_-;_-@_-">
                  <c:v>2255</c:v>
                </c:pt>
                <c:pt idx="1818" formatCode="_-* #\ ##0_-;\-* #\ ##0_-;_-* &quot;-&quot;??_-;_-@_-">
                  <c:v>2270</c:v>
                </c:pt>
                <c:pt idx="1819" formatCode="_-* #\ ##0_-;\-* #\ ##0_-;_-* &quot;-&quot;??_-;_-@_-">
                  <c:v>2285</c:v>
                </c:pt>
                <c:pt idx="1820" formatCode="_-* #\ ##0_-;\-* #\ ##0_-;_-* &quot;-&quot;??_-;_-@_-">
                  <c:v>2300</c:v>
                </c:pt>
                <c:pt idx="1821" formatCode="_-* #\ ##0_-;\-* #\ ##0_-;_-* &quot;-&quot;??_-;_-@_-">
                  <c:v>2315</c:v>
                </c:pt>
                <c:pt idx="1822" formatCode="_-* #\ ##0_-;\-* #\ ##0_-;_-* &quot;-&quot;??_-;_-@_-">
                  <c:v>2330</c:v>
                </c:pt>
                <c:pt idx="1823" formatCode="_-* #\ ##0_-;\-* #\ ##0_-;_-* &quot;-&quot;??_-;_-@_-">
                  <c:v>2345</c:v>
                </c:pt>
                <c:pt idx="1824" formatCode="_-* #\ ##0_-;\-* #\ ##0_-;_-* &quot;-&quot;??_-;_-@_-">
                  <c:v>2360</c:v>
                </c:pt>
                <c:pt idx="1825" formatCode="_-* #\ ##0_-;\-* #\ ##0_-;_-* &quot;-&quot;??_-;_-@_-">
                  <c:v>2375</c:v>
                </c:pt>
                <c:pt idx="1826" formatCode="_-* #\ ##0_-;\-* #\ ##0_-;_-* &quot;-&quot;??_-;_-@_-">
                  <c:v>2390</c:v>
                </c:pt>
                <c:pt idx="1827" formatCode="_-* #\ ##0_-;\-* #\ ##0_-;_-* &quot;-&quot;??_-;_-@_-">
                  <c:v>2405</c:v>
                </c:pt>
                <c:pt idx="1828" formatCode="_-* #\ ##0_-;\-* #\ ##0_-;_-* &quot;-&quot;??_-;_-@_-">
                  <c:v>2420</c:v>
                </c:pt>
                <c:pt idx="1829" formatCode="_-* #\ ##0_-;\-* #\ ##0_-;_-* &quot;-&quot;??_-;_-@_-">
                  <c:v>2435</c:v>
                </c:pt>
                <c:pt idx="1830" formatCode="_-* #\ ##0_-;\-* #\ ##0_-;_-* &quot;-&quot;??_-;_-@_-">
                  <c:v>2450</c:v>
                </c:pt>
                <c:pt idx="1831" formatCode="_-* #\ ##0_-;\-* #\ ##0_-;_-* &quot;-&quot;??_-;_-@_-">
                  <c:v>2465</c:v>
                </c:pt>
                <c:pt idx="1832" formatCode="_-* #\ ##0_-;\-* #\ ##0_-;_-* &quot;-&quot;??_-;_-@_-">
                  <c:v>2480</c:v>
                </c:pt>
                <c:pt idx="1833" formatCode="_-* #\ ##0_-;\-* #\ ##0_-;_-* &quot;-&quot;??_-;_-@_-">
                  <c:v>2495</c:v>
                </c:pt>
                <c:pt idx="1834" formatCode="_-* #\ ##0_-;\-* #\ ##0_-;_-* &quot;-&quot;??_-;_-@_-">
                  <c:v>2510</c:v>
                </c:pt>
                <c:pt idx="1835" formatCode="_-* #\ ##0_-;\-* #\ ##0_-;_-* &quot;-&quot;??_-;_-@_-">
                  <c:v>2525</c:v>
                </c:pt>
                <c:pt idx="1836" formatCode="_-* #\ ##0_-;\-* #\ ##0_-;_-* &quot;-&quot;??_-;_-@_-">
                  <c:v>2540</c:v>
                </c:pt>
                <c:pt idx="1837" formatCode="_-* #\ ##0_-;\-* #\ ##0_-;_-* &quot;-&quot;??_-;_-@_-">
                  <c:v>2555</c:v>
                </c:pt>
                <c:pt idx="1838" formatCode="_-* #\ ##0_-;\-* #\ ##0_-;_-* &quot;-&quot;??_-;_-@_-">
                  <c:v>2570</c:v>
                </c:pt>
                <c:pt idx="1839" formatCode="_-* #\ ##0_-;\-* #\ ##0_-;_-* &quot;-&quot;??_-;_-@_-">
                  <c:v>2585</c:v>
                </c:pt>
                <c:pt idx="1840" formatCode="_-* #\ ##0_-;\-* #\ ##0_-;_-* &quot;-&quot;??_-;_-@_-">
                  <c:v>2600</c:v>
                </c:pt>
                <c:pt idx="1841" formatCode="_-* #\ ##0_-;\-* #\ ##0_-;_-* &quot;-&quot;??_-;_-@_-">
                  <c:v>2615</c:v>
                </c:pt>
                <c:pt idx="1842" formatCode="_-* #\ ##0_-;\-* #\ ##0_-;_-* &quot;-&quot;??_-;_-@_-">
                  <c:v>2630</c:v>
                </c:pt>
                <c:pt idx="1843" formatCode="_-* #\ ##0_-;\-* #\ ##0_-;_-* &quot;-&quot;??_-;_-@_-">
                  <c:v>2645</c:v>
                </c:pt>
                <c:pt idx="1844" formatCode="_-* #\ ##0_-;\-* #\ ##0_-;_-* &quot;-&quot;??_-;_-@_-">
                  <c:v>2660</c:v>
                </c:pt>
                <c:pt idx="1845" formatCode="_-* #\ ##0_-;\-* #\ ##0_-;_-* &quot;-&quot;??_-;_-@_-">
                  <c:v>2675</c:v>
                </c:pt>
                <c:pt idx="1846" formatCode="_-* #\ ##0_-;\-* #\ ##0_-;_-* &quot;-&quot;??_-;_-@_-">
                  <c:v>2690</c:v>
                </c:pt>
                <c:pt idx="1847" formatCode="_-* #\ ##0_-;\-* #\ ##0_-;_-* &quot;-&quot;??_-;_-@_-">
                  <c:v>2705</c:v>
                </c:pt>
                <c:pt idx="1848" formatCode="_-* #\ ##0_-;\-* #\ ##0_-;_-* &quot;-&quot;??_-;_-@_-">
                  <c:v>2720</c:v>
                </c:pt>
                <c:pt idx="1849" formatCode="_-* #\ ##0_-;\-* #\ ##0_-;_-* &quot;-&quot;??_-;_-@_-">
                  <c:v>2735</c:v>
                </c:pt>
                <c:pt idx="1850" formatCode="_-* #\ ##0_-;\-* #\ ##0_-;_-* &quot;-&quot;??_-;_-@_-">
                  <c:v>2750</c:v>
                </c:pt>
                <c:pt idx="1851" formatCode="_-* #\ ##0_-;\-* #\ ##0_-;_-* &quot;-&quot;??_-;_-@_-">
                  <c:v>2765</c:v>
                </c:pt>
                <c:pt idx="1852" formatCode="_-* #\ ##0_-;\-* #\ ##0_-;_-* &quot;-&quot;??_-;_-@_-">
                  <c:v>2780</c:v>
                </c:pt>
                <c:pt idx="1853" formatCode="_-* #\ ##0_-;\-* #\ ##0_-;_-* &quot;-&quot;??_-;_-@_-">
                  <c:v>2795</c:v>
                </c:pt>
                <c:pt idx="1854" formatCode="_-* #\ ##0_-;\-* #\ ##0_-;_-* &quot;-&quot;??_-;_-@_-">
                  <c:v>2810</c:v>
                </c:pt>
                <c:pt idx="1855" formatCode="_-* #\ ##0_-;\-* #\ ##0_-;_-* &quot;-&quot;??_-;_-@_-">
                  <c:v>2825</c:v>
                </c:pt>
                <c:pt idx="1856" formatCode="_-* #\ ##0_-;\-* #\ ##0_-;_-* &quot;-&quot;??_-;_-@_-">
                  <c:v>2840</c:v>
                </c:pt>
                <c:pt idx="1857" formatCode="_-* #\ ##0_-;\-* #\ ##0_-;_-* &quot;-&quot;??_-;_-@_-">
                  <c:v>2855</c:v>
                </c:pt>
                <c:pt idx="1858" formatCode="_-* #\ ##0_-;\-* #\ ##0_-;_-* &quot;-&quot;??_-;_-@_-">
                  <c:v>2870</c:v>
                </c:pt>
                <c:pt idx="1859" formatCode="_-* #\ ##0_-;\-* #\ ##0_-;_-* &quot;-&quot;??_-;_-@_-">
                  <c:v>2885</c:v>
                </c:pt>
                <c:pt idx="1860" formatCode="_-* #\ ##0_-;\-* #\ ##0_-;_-* &quot;-&quot;??_-;_-@_-">
                  <c:v>2900</c:v>
                </c:pt>
                <c:pt idx="1861" formatCode="_-* #\ ##0_-;\-* #\ ##0_-;_-* &quot;-&quot;??_-;_-@_-">
                  <c:v>2915</c:v>
                </c:pt>
                <c:pt idx="1862" formatCode="_-* #\ ##0_-;\-* #\ ##0_-;_-* &quot;-&quot;??_-;_-@_-">
                  <c:v>2930</c:v>
                </c:pt>
                <c:pt idx="1863" formatCode="_-* #\ ##0_-;\-* #\ ##0_-;_-* &quot;-&quot;??_-;_-@_-">
                  <c:v>2945</c:v>
                </c:pt>
                <c:pt idx="1864" formatCode="_-* #\ ##0_-;\-* #\ ##0_-;_-* &quot;-&quot;??_-;_-@_-">
                  <c:v>2960</c:v>
                </c:pt>
                <c:pt idx="1865" formatCode="_-* #\ ##0_-;\-* #\ ##0_-;_-* &quot;-&quot;??_-;_-@_-">
                  <c:v>2975</c:v>
                </c:pt>
                <c:pt idx="1866" formatCode="_-* #\ ##0_-;\-* #\ ##0_-;_-* &quot;-&quot;??_-;_-@_-">
                  <c:v>2990</c:v>
                </c:pt>
                <c:pt idx="1867" formatCode="_-* #\ ##0_-;\-* #\ ##0_-;_-* &quot;-&quot;??_-;_-@_-">
                  <c:v>3005</c:v>
                </c:pt>
                <c:pt idx="1868" formatCode="_-* #\ ##0_-;\-* #\ ##0_-;_-* &quot;-&quot;??_-;_-@_-">
                  <c:v>3020</c:v>
                </c:pt>
                <c:pt idx="1869" formatCode="_-* #\ ##0_-;\-* #\ ##0_-;_-* &quot;-&quot;??_-;_-@_-">
                  <c:v>3035</c:v>
                </c:pt>
                <c:pt idx="1870" formatCode="_-* #\ ##0_-;\-* #\ ##0_-;_-* &quot;-&quot;??_-;_-@_-">
                  <c:v>3050</c:v>
                </c:pt>
                <c:pt idx="1871" formatCode="_-* #\ ##0_-;\-* #\ ##0_-;_-* &quot;-&quot;??_-;_-@_-">
                  <c:v>3065</c:v>
                </c:pt>
                <c:pt idx="1872" formatCode="_-* #\ ##0_-;\-* #\ ##0_-;_-* &quot;-&quot;??_-;_-@_-">
                  <c:v>3080</c:v>
                </c:pt>
                <c:pt idx="1873" formatCode="_-* #\ ##0_-;\-* #\ ##0_-;_-* &quot;-&quot;??_-;_-@_-">
                  <c:v>3095</c:v>
                </c:pt>
                <c:pt idx="1874" formatCode="_-* #\ ##0_-;\-* #\ ##0_-;_-* &quot;-&quot;??_-;_-@_-">
                  <c:v>3110</c:v>
                </c:pt>
                <c:pt idx="1875" formatCode="_-* #\ ##0_-;\-* #\ ##0_-;_-* &quot;-&quot;??_-;_-@_-">
                  <c:v>3125</c:v>
                </c:pt>
                <c:pt idx="1876" formatCode="_-* #\ ##0_-;\-* #\ ##0_-;_-* &quot;-&quot;??_-;_-@_-">
                  <c:v>3140</c:v>
                </c:pt>
                <c:pt idx="1877" formatCode="_-* #\ ##0_-;\-* #\ ##0_-;_-* &quot;-&quot;??_-;_-@_-">
                  <c:v>3155</c:v>
                </c:pt>
                <c:pt idx="1878" formatCode="_-* #\ ##0_-;\-* #\ ##0_-;_-* &quot;-&quot;??_-;_-@_-">
                  <c:v>3170</c:v>
                </c:pt>
                <c:pt idx="1879" formatCode="_-* #\ ##0_-;\-* #\ ##0_-;_-* &quot;-&quot;??_-;_-@_-">
                  <c:v>3185</c:v>
                </c:pt>
                <c:pt idx="1880" formatCode="_-* #\ ##0_-;\-* #\ ##0_-;_-* &quot;-&quot;??_-;_-@_-">
                  <c:v>3200</c:v>
                </c:pt>
                <c:pt idx="1881" formatCode="_-* #\ ##0_-;\-* #\ ##0_-;_-* &quot;-&quot;??_-;_-@_-">
                  <c:v>3215</c:v>
                </c:pt>
                <c:pt idx="1882" formatCode="_-* #\ ##0_-;\-* #\ ##0_-;_-* &quot;-&quot;??_-;_-@_-">
                  <c:v>3230</c:v>
                </c:pt>
                <c:pt idx="1883" formatCode="_-* #\ ##0_-;\-* #\ ##0_-;_-* &quot;-&quot;??_-;_-@_-">
                  <c:v>3245</c:v>
                </c:pt>
                <c:pt idx="1884" formatCode="_-* #\ ##0_-;\-* #\ ##0_-;_-* &quot;-&quot;??_-;_-@_-">
                  <c:v>3260</c:v>
                </c:pt>
                <c:pt idx="1885" formatCode="_-* #\ ##0_-;\-* #\ ##0_-;_-* &quot;-&quot;??_-;_-@_-">
                  <c:v>3275</c:v>
                </c:pt>
                <c:pt idx="1886" formatCode="_-* #\ ##0_-;\-* #\ ##0_-;_-* &quot;-&quot;??_-;_-@_-">
                  <c:v>3290</c:v>
                </c:pt>
                <c:pt idx="1887" formatCode="_-* #\ ##0_-;\-* #\ ##0_-;_-* &quot;-&quot;??_-;_-@_-">
                  <c:v>3305</c:v>
                </c:pt>
                <c:pt idx="1888" formatCode="_-* #\ ##0_-;\-* #\ ##0_-;_-* &quot;-&quot;??_-;_-@_-">
                  <c:v>3320</c:v>
                </c:pt>
                <c:pt idx="1889" formatCode="_-* #\ ##0_-;\-* #\ ##0_-;_-* &quot;-&quot;??_-;_-@_-">
                  <c:v>3335</c:v>
                </c:pt>
                <c:pt idx="1890" formatCode="_-* #\ ##0_-;\-* #\ ##0_-;_-* &quot;-&quot;??_-;_-@_-">
                  <c:v>3350</c:v>
                </c:pt>
                <c:pt idx="1891" formatCode="_-* #\ ##0_-;\-* #\ ##0_-;_-* &quot;-&quot;??_-;_-@_-">
                  <c:v>3365</c:v>
                </c:pt>
                <c:pt idx="1892" formatCode="_-* #\ ##0_-;\-* #\ ##0_-;_-* &quot;-&quot;??_-;_-@_-">
                  <c:v>3380</c:v>
                </c:pt>
                <c:pt idx="1893" formatCode="_-* #\ ##0_-;\-* #\ ##0_-;_-* &quot;-&quot;??_-;_-@_-">
                  <c:v>3395</c:v>
                </c:pt>
                <c:pt idx="1894" formatCode="_-* #\ ##0_-;\-* #\ ##0_-;_-* &quot;-&quot;??_-;_-@_-">
                  <c:v>3410</c:v>
                </c:pt>
                <c:pt idx="1895" formatCode="_-* #\ ##0_-;\-* #\ ##0_-;_-* &quot;-&quot;??_-;_-@_-">
                  <c:v>3425</c:v>
                </c:pt>
                <c:pt idx="1896" formatCode="_-* #\ ##0_-;\-* #\ ##0_-;_-* &quot;-&quot;??_-;_-@_-">
                  <c:v>3440</c:v>
                </c:pt>
                <c:pt idx="1897" formatCode="_-* #\ ##0_-;\-* #\ ##0_-;_-* &quot;-&quot;??_-;_-@_-">
                  <c:v>3455</c:v>
                </c:pt>
                <c:pt idx="1898" formatCode="_-* #\ ##0_-;\-* #\ ##0_-;_-* &quot;-&quot;??_-;_-@_-">
                  <c:v>3470</c:v>
                </c:pt>
                <c:pt idx="1899" formatCode="_-* #\ ##0_-;\-* #\ ##0_-;_-* &quot;-&quot;??_-;_-@_-">
                  <c:v>3485</c:v>
                </c:pt>
                <c:pt idx="1900" formatCode="_-* #\ ##0_-;\-* #\ ##0_-;_-* &quot;-&quot;??_-;_-@_-">
                  <c:v>3500</c:v>
                </c:pt>
                <c:pt idx="1901" formatCode="_-* #\ ##0_-;\-* #\ ##0_-;_-* &quot;-&quot;??_-;_-@_-">
                  <c:v>3520</c:v>
                </c:pt>
                <c:pt idx="1902" formatCode="_-* #\ ##0_-;\-* #\ ##0_-;_-* &quot;-&quot;??_-;_-@_-">
                  <c:v>3540</c:v>
                </c:pt>
                <c:pt idx="1903" formatCode="_-* #\ ##0_-;\-* #\ ##0_-;_-* &quot;-&quot;??_-;_-@_-">
                  <c:v>3560</c:v>
                </c:pt>
                <c:pt idx="1904" formatCode="_-* #\ ##0_-;\-* #\ ##0_-;_-* &quot;-&quot;??_-;_-@_-">
                  <c:v>3580</c:v>
                </c:pt>
                <c:pt idx="1905" formatCode="_-* #\ ##0_-;\-* #\ ##0_-;_-* &quot;-&quot;??_-;_-@_-">
                  <c:v>3600</c:v>
                </c:pt>
                <c:pt idx="1906" formatCode="_-* #\ ##0_-;\-* #\ ##0_-;_-* &quot;-&quot;??_-;_-@_-">
                  <c:v>3620</c:v>
                </c:pt>
                <c:pt idx="1907" formatCode="_-* #\ ##0_-;\-* #\ ##0_-;_-* &quot;-&quot;??_-;_-@_-">
                  <c:v>3640</c:v>
                </c:pt>
                <c:pt idx="1908" formatCode="_-* #\ ##0_-;\-* #\ ##0_-;_-* &quot;-&quot;??_-;_-@_-">
                  <c:v>3660</c:v>
                </c:pt>
                <c:pt idx="1909" formatCode="_-* #\ ##0_-;\-* #\ ##0_-;_-* &quot;-&quot;??_-;_-@_-">
                  <c:v>3680</c:v>
                </c:pt>
                <c:pt idx="1910" formatCode="_-* #\ ##0_-;\-* #\ ##0_-;_-* &quot;-&quot;??_-;_-@_-">
                  <c:v>3700</c:v>
                </c:pt>
                <c:pt idx="1911" formatCode="_-* #\ ##0_-;\-* #\ ##0_-;_-* &quot;-&quot;??_-;_-@_-">
                  <c:v>3720</c:v>
                </c:pt>
                <c:pt idx="1912" formatCode="_-* #\ ##0_-;\-* #\ ##0_-;_-* &quot;-&quot;??_-;_-@_-">
                  <c:v>3740</c:v>
                </c:pt>
                <c:pt idx="1913" formatCode="_-* #\ ##0_-;\-* #\ ##0_-;_-* &quot;-&quot;??_-;_-@_-">
                  <c:v>3760</c:v>
                </c:pt>
                <c:pt idx="1914" formatCode="_-* #\ ##0_-;\-* #\ ##0_-;_-* &quot;-&quot;??_-;_-@_-">
                  <c:v>3780</c:v>
                </c:pt>
                <c:pt idx="1915" formatCode="_-* #\ ##0_-;\-* #\ ##0_-;_-* &quot;-&quot;??_-;_-@_-">
                  <c:v>3800</c:v>
                </c:pt>
                <c:pt idx="1916" formatCode="_-* #\ ##0_-;\-* #\ ##0_-;_-* &quot;-&quot;??_-;_-@_-">
                  <c:v>3820</c:v>
                </c:pt>
                <c:pt idx="1917" formatCode="_-* #\ ##0_-;\-* #\ ##0_-;_-* &quot;-&quot;??_-;_-@_-">
                  <c:v>3840</c:v>
                </c:pt>
                <c:pt idx="1918" formatCode="_-* #\ ##0_-;\-* #\ ##0_-;_-* &quot;-&quot;??_-;_-@_-">
                  <c:v>3860</c:v>
                </c:pt>
                <c:pt idx="1919" formatCode="_-* #\ ##0_-;\-* #\ ##0_-;_-* &quot;-&quot;??_-;_-@_-">
                  <c:v>3880</c:v>
                </c:pt>
                <c:pt idx="1920" formatCode="_-* #\ ##0_-;\-* #\ ##0_-;_-* &quot;-&quot;??_-;_-@_-">
                  <c:v>3900</c:v>
                </c:pt>
                <c:pt idx="1921" formatCode="_-* #\ ##0_-;\-* #\ ##0_-;_-* &quot;-&quot;??_-;_-@_-">
                  <c:v>3920</c:v>
                </c:pt>
                <c:pt idx="1922" formatCode="_-* #\ ##0_-;\-* #\ ##0_-;_-* &quot;-&quot;??_-;_-@_-">
                  <c:v>3940</c:v>
                </c:pt>
                <c:pt idx="1923" formatCode="_-* #\ ##0_-;\-* #\ ##0_-;_-* &quot;-&quot;??_-;_-@_-">
                  <c:v>3960</c:v>
                </c:pt>
                <c:pt idx="1924" formatCode="_-* #\ ##0_-;\-* #\ ##0_-;_-* &quot;-&quot;??_-;_-@_-">
                  <c:v>3980</c:v>
                </c:pt>
                <c:pt idx="1925" formatCode="_-* #\ ##0_-;\-* #\ ##0_-;_-* &quot;-&quot;??_-;_-@_-">
                  <c:v>4000</c:v>
                </c:pt>
                <c:pt idx="1926" formatCode="_-* #\ ##0_-;\-* #\ ##0_-;_-* &quot;-&quot;??_-;_-@_-">
                  <c:v>4020</c:v>
                </c:pt>
                <c:pt idx="1927" formatCode="_-* #\ ##0_-;\-* #\ ##0_-;_-* &quot;-&quot;??_-;_-@_-">
                  <c:v>4040</c:v>
                </c:pt>
                <c:pt idx="1928" formatCode="_-* #\ ##0_-;\-* #\ ##0_-;_-* &quot;-&quot;??_-;_-@_-">
                  <c:v>4060</c:v>
                </c:pt>
                <c:pt idx="1929" formatCode="_-* #\ ##0_-;\-* #\ ##0_-;_-* &quot;-&quot;??_-;_-@_-">
                  <c:v>4080</c:v>
                </c:pt>
                <c:pt idx="1930" formatCode="_-* #\ ##0_-;\-* #\ ##0_-;_-* &quot;-&quot;??_-;_-@_-">
                  <c:v>4100</c:v>
                </c:pt>
                <c:pt idx="1931" formatCode="_-* #\ ##0_-;\-* #\ ##0_-;_-* &quot;-&quot;??_-;_-@_-">
                  <c:v>4120</c:v>
                </c:pt>
                <c:pt idx="1932" formatCode="_-* #\ ##0_-;\-* #\ ##0_-;_-* &quot;-&quot;??_-;_-@_-">
                  <c:v>4140</c:v>
                </c:pt>
                <c:pt idx="1933" formatCode="_-* #\ ##0_-;\-* #\ ##0_-;_-* &quot;-&quot;??_-;_-@_-">
                  <c:v>4160</c:v>
                </c:pt>
                <c:pt idx="1934" formatCode="_-* #\ ##0_-;\-* #\ ##0_-;_-* &quot;-&quot;??_-;_-@_-">
                  <c:v>4180</c:v>
                </c:pt>
                <c:pt idx="1935" formatCode="_-* #\ ##0_-;\-* #\ ##0_-;_-* &quot;-&quot;??_-;_-@_-">
                  <c:v>4200</c:v>
                </c:pt>
                <c:pt idx="1936" formatCode="_-* #\ ##0_-;\-* #\ ##0_-;_-* &quot;-&quot;??_-;_-@_-">
                  <c:v>4220</c:v>
                </c:pt>
                <c:pt idx="1937" formatCode="_-* #\ ##0_-;\-* #\ ##0_-;_-* &quot;-&quot;??_-;_-@_-">
                  <c:v>4240</c:v>
                </c:pt>
                <c:pt idx="1938" formatCode="_-* #\ ##0_-;\-* #\ ##0_-;_-* &quot;-&quot;??_-;_-@_-">
                  <c:v>4260</c:v>
                </c:pt>
                <c:pt idx="1939" formatCode="_-* #\ ##0_-;\-* #\ ##0_-;_-* &quot;-&quot;??_-;_-@_-">
                  <c:v>4280</c:v>
                </c:pt>
                <c:pt idx="1940" formatCode="_-* #\ ##0_-;\-* #\ ##0_-;_-* &quot;-&quot;??_-;_-@_-">
                  <c:v>4300</c:v>
                </c:pt>
                <c:pt idx="1941" formatCode="_-* #\ ##0_-;\-* #\ ##0_-;_-* &quot;-&quot;??_-;_-@_-">
                  <c:v>4320</c:v>
                </c:pt>
                <c:pt idx="1942" formatCode="_-* #\ ##0_-;\-* #\ ##0_-;_-* &quot;-&quot;??_-;_-@_-">
                  <c:v>4340</c:v>
                </c:pt>
                <c:pt idx="1943" formatCode="_-* #\ ##0_-;\-* #\ ##0_-;_-* &quot;-&quot;??_-;_-@_-">
                  <c:v>4360</c:v>
                </c:pt>
                <c:pt idx="1944" formatCode="_-* #\ ##0_-;\-* #\ ##0_-;_-* &quot;-&quot;??_-;_-@_-">
                  <c:v>4380</c:v>
                </c:pt>
                <c:pt idx="1945" formatCode="_-* #\ ##0_-;\-* #\ ##0_-;_-* &quot;-&quot;??_-;_-@_-">
                  <c:v>4400</c:v>
                </c:pt>
                <c:pt idx="1946" formatCode="_-* #\ ##0_-;\-* #\ ##0_-;_-* &quot;-&quot;??_-;_-@_-">
                  <c:v>4420</c:v>
                </c:pt>
                <c:pt idx="1947" formatCode="_-* #\ ##0_-;\-* #\ ##0_-;_-* &quot;-&quot;??_-;_-@_-">
                  <c:v>4440</c:v>
                </c:pt>
                <c:pt idx="1948" formatCode="_-* #\ ##0_-;\-* #\ ##0_-;_-* &quot;-&quot;??_-;_-@_-">
                  <c:v>4460</c:v>
                </c:pt>
                <c:pt idx="1949" formatCode="_-* #\ ##0_-;\-* #\ ##0_-;_-* &quot;-&quot;??_-;_-@_-">
                  <c:v>4480</c:v>
                </c:pt>
                <c:pt idx="1950" formatCode="_-* #\ ##0_-;\-* #\ ##0_-;_-* &quot;-&quot;??_-;_-@_-">
                  <c:v>4500</c:v>
                </c:pt>
                <c:pt idx="1951" formatCode="_-* #\ ##0_-;\-* #\ ##0_-;_-* &quot;-&quot;??_-;_-@_-">
                  <c:v>4520</c:v>
                </c:pt>
                <c:pt idx="1952" formatCode="_-* #\ ##0_-;\-* #\ ##0_-;_-* &quot;-&quot;??_-;_-@_-">
                  <c:v>4540</c:v>
                </c:pt>
                <c:pt idx="1953" formatCode="_-* #\ ##0_-;\-* #\ ##0_-;_-* &quot;-&quot;??_-;_-@_-">
                  <c:v>4560</c:v>
                </c:pt>
                <c:pt idx="1954" formatCode="_-* #\ ##0_-;\-* #\ ##0_-;_-* &quot;-&quot;??_-;_-@_-">
                  <c:v>4580</c:v>
                </c:pt>
                <c:pt idx="1955" formatCode="_-* #\ ##0_-;\-* #\ ##0_-;_-* &quot;-&quot;??_-;_-@_-">
                  <c:v>4600</c:v>
                </c:pt>
                <c:pt idx="1956" formatCode="_-* #\ ##0_-;\-* #\ ##0_-;_-* &quot;-&quot;??_-;_-@_-">
                  <c:v>4620</c:v>
                </c:pt>
                <c:pt idx="1957" formatCode="_-* #\ ##0_-;\-* #\ ##0_-;_-* &quot;-&quot;??_-;_-@_-">
                  <c:v>4640</c:v>
                </c:pt>
                <c:pt idx="1958" formatCode="_-* #\ ##0_-;\-* #\ ##0_-;_-* &quot;-&quot;??_-;_-@_-">
                  <c:v>4660</c:v>
                </c:pt>
                <c:pt idx="1959" formatCode="_-* #\ ##0_-;\-* #\ ##0_-;_-* &quot;-&quot;??_-;_-@_-">
                  <c:v>4680</c:v>
                </c:pt>
                <c:pt idx="1960" formatCode="_-* #\ ##0_-;\-* #\ ##0_-;_-* &quot;-&quot;??_-;_-@_-">
                  <c:v>4700</c:v>
                </c:pt>
                <c:pt idx="1961" formatCode="_-* #\ ##0_-;\-* #\ ##0_-;_-* &quot;-&quot;??_-;_-@_-">
                  <c:v>4720</c:v>
                </c:pt>
                <c:pt idx="1962" formatCode="_-* #\ ##0_-;\-* #\ ##0_-;_-* &quot;-&quot;??_-;_-@_-">
                  <c:v>4740</c:v>
                </c:pt>
                <c:pt idx="1963" formatCode="_-* #\ ##0_-;\-* #\ ##0_-;_-* &quot;-&quot;??_-;_-@_-">
                  <c:v>4760</c:v>
                </c:pt>
                <c:pt idx="1964" formatCode="_-* #\ ##0_-;\-* #\ ##0_-;_-* &quot;-&quot;??_-;_-@_-">
                  <c:v>4780</c:v>
                </c:pt>
                <c:pt idx="1965" formatCode="_-* #\ ##0_-;\-* #\ ##0_-;_-* &quot;-&quot;??_-;_-@_-">
                  <c:v>4800</c:v>
                </c:pt>
                <c:pt idx="1966" formatCode="_-* #\ ##0_-;\-* #\ ##0_-;_-* &quot;-&quot;??_-;_-@_-">
                  <c:v>4820</c:v>
                </c:pt>
                <c:pt idx="1967" formatCode="_-* #\ ##0_-;\-* #\ ##0_-;_-* &quot;-&quot;??_-;_-@_-">
                  <c:v>4840</c:v>
                </c:pt>
                <c:pt idx="1968" formatCode="_-* #\ ##0_-;\-* #\ ##0_-;_-* &quot;-&quot;??_-;_-@_-">
                  <c:v>4860</c:v>
                </c:pt>
                <c:pt idx="1969" formatCode="_-* #\ ##0_-;\-* #\ ##0_-;_-* &quot;-&quot;??_-;_-@_-">
                  <c:v>4880</c:v>
                </c:pt>
                <c:pt idx="1970" formatCode="_-* #\ ##0_-;\-* #\ ##0_-;_-* &quot;-&quot;??_-;_-@_-">
                  <c:v>4900</c:v>
                </c:pt>
                <c:pt idx="1971" formatCode="_-* #\ ##0_-;\-* #\ ##0_-;_-* &quot;-&quot;??_-;_-@_-">
                  <c:v>4920</c:v>
                </c:pt>
                <c:pt idx="1972" formatCode="_-* #\ ##0_-;\-* #\ ##0_-;_-* &quot;-&quot;??_-;_-@_-">
                  <c:v>4940</c:v>
                </c:pt>
                <c:pt idx="1973" formatCode="_-* #\ ##0_-;\-* #\ ##0_-;_-* &quot;-&quot;??_-;_-@_-">
                  <c:v>4960</c:v>
                </c:pt>
                <c:pt idx="1974" formatCode="_-* #\ ##0_-;\-* #\ ##0_-;_-* &quot;-&quot;??_-;_-@_-">
                  <c:v>4980</c:v>
                </c:pt>
                <c:pt idx="1975" formatCode="_-* #\ ##0_-;\-* #\ ##0_-;_-* &quot;-&quot;??_-;_-@_-">
                  <c:v>5000</c:v>
                </c:pt>
                <c:pt idx="1976" formatCode="_-* #\ ##0_-;\-* #\ ##0_-;_-* &quot;-&quot;??_-;_-@_-">
                  <c:v>5020</c:v>
                </c:pt>
                <c:pt idx="1977" formatCode="_-* #\ ##0_-;\-* #\ ##0_-;_-* &quot;-&quot;??_-;_-@_-">
                  <c:v>5040</c:v>
                </c:pt>
                <c:pt idx="1978" formatCode="_-* #\ ##0_-;\-* #\ ##0_-;_-* &quot;-&quot;??_-;_-@_-">
                  <c:v>5060</c:v>
                </c:pt>
                <c:pt idx="1979" formatCode="_-* #\ ##0_-;\-* #\ ##0_-;_-* &quot;-&quot;??_-;_-@_-">
                  <c:v>5080</c:v>
                </c:pt>
                <c:pt idx="1980" formatCode="_-* #\ ##0_-;\-* #\ ##0_-;_-* &quot;-&quot;??_-;_-@_-">
                  <c:v>5100</c:v>
                </c:pt>
                <c:pt idx="1981" formatCode="_-* #\ ##0_-;\-* #\ ##0_-;_-* &quot;-&quot;??_-;_-@_-">
                  <c:v>5120</c:v>
                </c:pt>
                <c:pt idx="1982" formatCode="_-* #\ ##0_-;\-* #\ ##0_-;_-* &quot;-&quot;??_-;_-@_-">
                  <c:v>5140</c:v>
                </c:pt>
                <c:pt idx="1983" formatCode="_-* #\ ##0_-;\-* #\ ##0_-;_-* &quot;-&quot;??_-;_-@_-">
                  <c:v>5160</c:v>
                </c:pt>
                <c:pt idx="1984" formatCode="_-* #\ ##0_-;\-* #\ ##0_-;_-* &quot;-&quot;??_-;_-@_-">
                  <c:v>5180</c:v>
                </c:pt>
                <c:pt idx="1985" formatCode="_-* #\ ##0_-;\-* #\ ##0_-;_-* &quot;-&quot;??_-;_-@_-">
                  <c:v>5200</c:v>
                </c:pt>
                <c:pt idx="1986" formatCode="_-* #\ ##0_-;\-* #\ ##0_-;_-* &quot;-&quot;??_-;_-@_-">
                  <c:v>5220</c:v>
                </c:pt>
                <c:pt idx="1987" formatCode="_-* #\ ##0_-;\-* #\ ##0_-;_-* &quot;-&quot;??_-;_-@_-">
                  <c:v>5240</c:v>
                </c:pt>
                <c:pt idx="1988" formatCode="_-* #\ ##0_-;\-* #\ ##0_-;_-* &quot;-&quot;??_-;_-@_-">
                  <c:v>5260</c:v>
                </c:pt>
                <c:pt idx="1989" formatCode="_-* #\ ##0_-;\-* #\ ##0_-;_-* &quot;-&quot;??_-;_-@_-">
                  <c:v>5280</c:v>
                </c:pt>
                <c:pt idx="1990" formatCode="_-* #\ ##0_-;\-* #\ ##0_-;_-* &quot;-&quot;??_-;_-@_-">
                  <c:v>5300</c:v>
                </c:pt>
                <c:pt idx="1991" formatCode="_-* #\ ##0_-;\-* #\ ##0_-;_-* &quot;-&quot;??_-;_-@_-">
                  <c:v>5320</c:v>
                </c:pt>
                <c:pt idx="1992" formatCode="_-* #\ ##0_-;\-* #\ ##0_-;_-* &quot;-&quot;??_-;_-@_-">
                  <c:v>5340</c:v>
                </c:pt>
                <c:pt idx="1993" formatCode="_-* #\ ##0_-;\-* #\ ##0_-;_-* &quot;-&quot;??_-;_-@_-">
                  <c:v>5360</c:v>
                </c:pt>
                <c:pt idx="1994" formatCode="_-* #\ ##0_-;\-* #\ ##0_-;_-* &quot;-&quot;??_-;_-@_-">
                  <c:v>5380</c:v>
                </c:pt>
                <c:pt idx="1995" formatCode="_-* #\ ##0_-;\-* #\ ##0_-;_-* &quot;-&quot;??_-;_-@_-">
                  <c:v>5400</c:v>
                </c:pt>
                <c:pt idx="1996" formatCode="_-* #\ ##0_-;\-* #\ ##0_-;_-* &quot;-&quot;??_-;_-@_-">
                  <c:v>5420</c:v>
                </c:pt>
                <c:pt idx="1997" formatCode="_-* #\ ##0_-;\-* #\ ##0_-;_-* &quot;-&quot;??_-;_-@_-">
                  <c:v>5440</c:v>
                </c:pt>
                <c:pt idx="1998" formatCode="_-* #\ ##0_-;\-* #\ ##0_-;_-* &quot;-&quot;??_-;_-@_-">
                  <c:v>5460</c:v>
                </c:pt>
                <c:pt idx="1999" formatCode="_-* #\ ##0_-;\-* #\ ##0_-;_-* &quot;-&quot;??_-;_-@_-">
                  <c:v>5480</c:v>
                </c:pt>
                <c:pt idx="2000" formatCode="_-* #\ ##0_-;\-* #\ ##0_-;_-* &quot;-&quot;??_-;_-@_-">
                  <c:v>5500</c:v>
                </c:pt>
                <c:pt idx="2001" formatCode="_-* #\ ##0_-;\-* #\ ##0_-;_-* &quot;-&quot;??_-;_-@_-">
                  <c:v>5525</c:v>
                </c:pt>
                <c:pt idx="2002" formatCode="_-* #\ ##0_-;\-* #\ ##0_-;_-* &quot;-&quot;??_-;_-@_-">
                  <c:v>5550</c:v>
                </c:pt>
                <c:pt idx="2003" formatCode="_-* #\ ##0_-;\-* #\ ##0_-;_-* &quot;-&quot;??_-;_-@_-">
                  <c:v>5575</c:v>
                </c:pt>
                <c:pt idx="2004" formatCode="_-* #\ ##0_-;\-* #\ ##0_-;_-* &quot;-&quot;??_-;_-@_-">
                  <c:v>5600</c:v>
                </c:pt>
                <c:pt idx="2005" formatCode="_-* #\ ##0_-;\-* #\ ##0_-;_-* &quot;-&quot;??_-;_-@_-">
                  <c:v>5625</c:v>
                </c:pt>
                <c:pt idx="2006" formatCode="_-* #\ ##0_-;\-* #\ ##0_-;_-* &quot;-&quot;??_-;_-@_-">
                  <c:v>5650</c:v>
                </c:pt>
                <c:pt idx="2007" formatCode="_-* #\ ##0_-;\-* #\ ##0_-;_-* &quot;-&quot;??_-;_-@_-">
                  <c:v>5675</c:v>
                </c:pt>
                <c:pt idx="2008" formatCode="_-* #\ ##0_-;\-* #\ ##0_-;_-* &quot;-&quot;??_-;_-@_-">
                  <c:v>5700</c:v>
                </c:pt>
                <c:pt idx="2009" formatCode="_-* #\ ##0_-;\-* #\ ##0_-;_-* &quot;-&quot;??_-;_-@_-">
                  <c:v>5725</c:v>
                </c:pt>
                <c:pt idx="2010" formatCode="_-* #\ ##0_-;\-* #\ ##0_-;_-* &quot;-&quot;??_-;_-@_-">
                  <c:v>5750</c:v>
                </c:pt>
                <c:pt idx="2011" formatCode="_-* #\ ##0_-;\-* #\ ##0_-;_-* &quot;-&quot;??_-;_-@_-">
                  <c:v>5775</c:v>
                </c:pt>
                <c:pt idx="2012" formatCode="_-* #\ ##0_-;\-* #\ ##0_-;_-* &quot;-&quot;??_-;_-@_-">
                  <c:v>5800</c:v>
                </c:pt>
                <c:pt idx="2013" formatCode="_-* #\ ##0_-;\-* #\ ##0_-;_-* &quot;-&quot;??_-;_-@_-">
                  <c:v>5825</c:v>
                </c:pt>
                <c:pt idx="2014" formatCode="_-* #\ ##0_-;\-* #\ ##0_-;_-* &quot;-&quot;??_-;_-@_-">
                  <c:v>5850</c:v>
                </c:pt>
                <c:pt idx="2015" formatCode="_-* #\ ##0_-;\-* #\ ##0_-;_-* &quot;-&quot;??_-;_-@_-">
                  <c:v>5875</c:v>
                </c:pt>
                <c:pt idx="2016" formatCode="_-* #\ ##0_-;\-* #\ ##0_-;_-* &quot;-&quot;??_-;_-@_-">
                  <c:v>5900</c:v>
                </c:pt>
                <c:pt idx="2017" formatCode="_-* #\ ##0_-;\-* #\ ##0_-;_-* &quot;-&quot;??_-;_-@_-">
                  <c:v>5925</c:v>
                </c:pt>
                <c:pt idx="2018" formatCode="_-* #\ ##0_-;\-* #\ ##0_-;_-* &quot;-&quot;??_-;_-@_-">
                  <c:v>5950</c:v>
                </c:pt>
                <c:pt idx="2019" formatCode="_-* #\ ##0_-;\-* #\ ##0_-;_-* &quot;-&quot;??_-;_-@_-">
                  <c:v>5975</c:v>
                </c:pt>
                <c:pt idx="2020" formatCode="_-* #\ ##0_-;\-* #\ ##0_-;_-* &quot;-&quot;??_-;_-@_-">
                  <c:v>6000</c:v>
                </c:pt>
                <c:pt idx="2021" formatCode="_-* #\ ##0_-;\-* #\ ##0_-;_-* &quot;-&quot;??_-;_-@_-">
                  <c:v>6025</c:v>
                </c:pt>
                <c:pt idx="2022" formatCode="_-* #\ ##0_-;\-* #\ ##0_-;_-* &quot;-&quot;??_-;_-@_-">
                  <c:v>6050</c:v>
                </c:pt>
                <c:pt idx="2023" formatCode="_-* #\ ##0_-;\-* #\ ##0_-;_-* &quot;-&quot;??_-;_-@_-">
                  <c:v>6075</c:v>
                </c:pt>
                <c:pt idx="2024" formatCode="_-* #\ ##0_-;\-* #\ ##0_-;_-* &quot;-&quot;??_-;_-@_-">
                  <c:v>6100</c:v>
                </c:pt>
                <c:pt idx="2025" formatCode="_-* #\ ##0_-;\-* #\ ##0_-;_-* &quot;-&quot;??_-;_-@_-">
                  <c:v>6125</c:v>
                </c:pt>
                <c:pt idx="2026" formatCode="_-* #\ ##0_-;\-* #\ ##0_-;_-* &quot;-&quot;??_-;_-@_-">
                  <c:v>6150</c:v>
                </c:pt>
                <c:pt idx="2027" formatCode="_-* #\ ##0_-;\-* #\ ##0_-;_-* &quot;-&quot;??_-;_-@_-">
                  <c:v>6175</c:v>
                </c:pt>
                <c:pt idx="2028" formatCode="_-* #\ ##0_-;\-* #\ ##0_-;_-* &quot;-&quot;??_-;_-@_-">
                  <c:v>6200</c:v>
                </c:pt>
                <c:pt idx="2029" formatCode="_-* #\ ##0_-;\-* #\ ##0_-;_-* &quot;-&quot;??_-;_-@_-">
                  <c:v>6225</c:v>
                </c:pt>
                <c:pt idx="2030" formatCode="_-* #\ ##0_-;\-* #\ ##0_-;_-* &quot;-&quot;??_-;_-@_-">
                  <c:v>6250</c:v>
                </c:pt>
                <c:pt idx="2031" formatCode="_-* #\ ##0_-;\-* #\ ##0_-;_-* &quot;-&quot;??_-;_-@_-">
                  <c:v>6275</c:v>
                </c:pt>
                <c:pt idx="2032" formatCode="_-* #\ ##0_-;\-* #\ ##0_-;_-* &quot;-&quot;??_-;_-@_-">
                  <c:v>6300</c:v>
                </c:pt>
                <c:pt idx="2033" formatCode="_-* #\ ##0_-;\-* #\ ##0_-;_-* &quot;-&quot;??_-;_-@_-">
                  <c:v>6325</c:v>
                </c:pt>
                <c:pt idx="2034" formatCode="_-* #\ ##0_-;\-* #\ ##0_-;_-* &quot;-&quot;??_-;_-@_-">
                  <c:v>6350</c:v>
                </c:pt>
                <c:pt idx="2035" formatCode="_-* #\ ##0_-;\-* #\ ##0_-;_-* &quot;-&quot;??_-;_-@_-">
                  <c:v>6375</c:v>
                </c:pt>
                <c:pt idx="2036" formatCode="_-* #\ ##0_-;\-* #\ ##0_-;_-* &quot;-&quot;??_-;_-@_-">
                  <c:v>6400</c:v>
                </c:pt>
                <c:pt idx="2037" formatCode="_-* #\ ##0_-;\-* #\ ##0_-;_-* &quot;-&quot;??_-;_-@_-">
                  <c:v>6425</c:v>
                </c:pt>
                <c:pt idx="2038" formatCode="_-* #\ ##0_-;\-* #\ ##0_-;_-* &quot;-&quot;??_-;_-@_-">
                  <c:v>6450</c:v>
                </c:pt>
                <c:pt idx="2039" formatCode="_-* #\ ##0_-;\-* #\ ##0_-;_-* &quot;-&quot;??_-;_-@_-">
                  <c:v>6475</c:v>
                </c:pt>
                <c:pt idx="2040" formatCode="_-* #\ ##0_-;\-* #\ ##0_-;_-* &quot;-&quot;??_-;_-@_-">
                  <c:v>6500</c:v>
                </c:pt>
                <c:pt idx="2041" formatCode="_-* #\ ##0_-;\-* #\ ##0_-;_-* &quot;-&quot;??_-;_-@_-">
                  <c:v>6525</c:v>
                </c:pt>
                <c:pt idx="2042" formatCode="_-* #\ ##0_-;\-* #\ ##0_-;_-* &quot;-&quot;??_-;_-@_-">
                  <c:v>6550</c:v>
                </c:pt>
                <c:pt idx="2043" formatCode="_-* #\ ##0_-;\-* #\ ##0_-;_-* &quot;-&quot;??_-;_-@_-">
                  <c:v>6575</c:v>
                </c:pt>
                <c:pt idx="2044" formatCode="_-* #\ ##0_-;\-* #\ ##0_-;_-* &quot;-&quot;??_-;_-@_-">
                  <c:v>6600</c:v>
                </c:pt>
                <c:pt idx="2045" formatCode="_-* #\ ##0_-;\-* #\ ##0_-;_-* &quot;-&quot;??_-;_-@_-">
                  <c:v>6625</c:v>
                </c:pt>
                <c:pt idx="2046" formatCode="_-* #\ ##0_-;\-* #\ ##0_-;_-* &quot;-&quot;??_-;_-@_-">
                  <c:v>6650</c:v>
                </c:pt>
                <c:pt idx="2047" formatCode="_-* #\ ##0_-;\-* #\ ##0_-;_-* &quot;-&quot;??_-;_-@_-">
                  <c:v>6675</c:v>
                </c:pt>
                <c:pt idx="2048" formatCode="_-* #\ ##0_-;\-* #\ ##0_-;_-* &quot;-&quot;??_-;_-@_-">
                  <c:v>6700</c:v>
                </c:pt>
                <c:pt idx="2049" formatCode="_-* #\ ##0_-;\-* #\ ##0_-;_-* &quot;-&quot;??_-;_-@_-">
                  <c:v>6725</c:v>
                </c:pt>
                <c:pt idx="2050" formatCode="_-* #\ ##0_-;\-* #\ ##0_-;_-* &quot;-&quot;??_-;_-@_-">
                  <c:v>6750</c:v>
                </c:pt>
                <c:pt idx="2051" formatCode="_-* #\ ##0_-;\-* #\ ##0_-;_-* &quot;-&quot;??_-;_-@_-">
                  <c:v>6775</c:v>
                </c:pt>
                <c:pt idx="2052" formatCode="_-* #\ ##0_-;\-* #\ ##0_-;_-* &quot;-&quot;??_-;_-@_-">
                  <c:v>6800</c:v>
                </c:pt>
                <c:pt idx="2053" formatCode="_-* #\ ##0_-;\-* #\ ##0_-;_-* &quot;-&quot;??_-;_-@_-">
                  <c:v>6825</c:v>
                </c:pt>
                <c:pt idx="2054" formatCode="_-* #\ ##0_-;\-* #\ ##0_-;_-* &quot;-&quot;??_-;_-@_-">
                  <c:v>6850</c:v>
                </c:pt>
                <c:pt idx="2055" formatCode="_-* #\ ##0_-;\-* #\ ##0_-;_-* &quot;-&quot;??_-;_-@_-">
                  <c:v>6875</c:v>
                </c:pt>
                <c:pt idx="2056" formatCode="_-* #\ ##0_-;\-* #\ ##0_-;_-* &quot;-&quot;??_-;_-@_-">
                  <c:v>6900</c:v>
                </c:pt>
                <c:pt idx="2057" formatCode="_-* #\ ##0_-;\-* #\ ##0_-;_-* &quot;-&quot;??_-;_-@_-">
                  <c:v>6925</c:v>
                </c:pt>
                <c:pt idx="2058" formatCode="_-* #\ ##0_-;\-* #\ ##0_-;_-* &quot;-&quot;??_-;_-@_-">
                  <c:v>6950</c:v>
                </c:pt>
                <c:pt idx="2059" formatCode="_-* #\ ##0_-;\-* #\ ##0_-;_-* &quot;-&quot;??_-;_-@_-">
                  <c:v>6975</c:v>
                </c:pt>
                <c:pt idx="2060" formatCode="_-* #\ ##0_-;\-* #\ ##0_-;_-* &quot;-&quot;??_-;_-@_-">
                  <c:v>7000</c:v>
                </c:pt>
                <c:pt idx="2061" formatCode="_-* #\ ##0_-;\-* #\ ##0_-;_-* &quot;-&quot;??_-;_-@_-">
                  <c:v>7025</c:v>
                </c:pt>
                <c:pt idx="2062" formatCode="_-* #\ ##0_-;\-* #\ ##0_-;_-* &quot;-&quot;??_-;_-@_-">
                  <c:v>7050</c:v>
                </c:pt>
                <c:pt idx="2063" formatCode="_-* #\ ##0_-;\-* #\ ##0_-;_-* &quot;-&quot;??_-;_-@_-">
                  <c:v>7075</c:v>
                </c:pt>
                <c:pt idx="2064" formatCode="_-* #\ ##0_-;\-* #\ ##0_-;_-* &quot;-&quot;??_-;_-@_-">
                  <c:v>7100</c:v>
                </c:pt>
                <c:pt idx="2065" formatCode="_-* #\ ##0_-;\-* #\ ##0_-;_-* &quot;-&quot;??_-;_-@_-">
                  <c:v>7125</c:v>
                </c:pt>
                <c:pt idx="2066" formatCode="_-* #\ ##0_-;\-* #\ ##0_-;_-* &quot;-&quot;??_-;_-@_-">
                  <c:v>7150</c:v>
                </c:pt>
                <c:pt idx="2067" formatCode="_-* #\ ##0_-;\-* #\ ##0_-;_-* &quot;-&quot;??_-;_-@_-">
                  <c:v>7175</c:v>
                </c:pt>
                <c:pt idx="2068" formatCode="_-* #\ ##0_-;\-* #\ ##0_-;_-* &quot;-&quot;??_-;_-@_-">
                  <c:v>7200</c:v>
                </c:pt>
                <c:pt idx="2069" formatCode="_-* #\ ##0_-;\-* #\ ##0_-;_-* &quot;-&quot;??_-;_-@_-">
                  <c:v>7225</c:v>
                </c:pt>
                <c:pt idx="2070" formatCode="_-* #\ ##0_-;\-* #\ ##0_-;_-* &quot;-&quot;??_-;_-@_-">
                  <c:v>7250</c:v>
                </c:pt>
                <c:pt idx="2071" formatCode="_-* #\ ##0_-;\-* #\ ##0_-;_-* &quot;-&quot;??_-;_-@_-">
                  <c:v>7275</c:v>
                </c:pt>
                <c:pt idx="2072" formatCode="_-* #\ ##0_-;\-* #\ ##0_-;_-* &quot;-&quot;??_-;_-@_-">
                  <c:v>7300</c:v>
                </c:pt>
                <c:pt idx="2073" formatCode="_-* #\ ##0_-;\-* #\ ##0_-;_-* &quot;-&quot;??_-;_-@_-">
                  <c:v>7325</c:v>
                </c:pt>
                <c:pt idx="2074" formatCode="_-* #\ ##0_-;\-* #\ ##0_-;_-* &quot;-&quot;??_-;_-@_-">
                  <c:v>7350</c:v>
                </c:pt>
                <c:pt idx="2075" formatCode="_-* #\ ##0_-;\-* #\ ##0_-;_-* &quot;-&quot;??_-;_-@_-">
                  <c:v>7375</c:v>
                </c:pt>
                <c:pt idx="2076" formatCode="_-* #\ ##0_-;\-* #\ ##0_-;_-* &quot;-&quot;??_-;_-@_-">
                  <c:v>7400</c:v>
                </c:pt>
                <c:pt idx="2077" formatCode="_-* #\ ##0_-;\-* #\ ##0_-;_-* &quot;-&quot;??_-;_-@_-">
                  <c:v>7425</c:v>
                </c:pt>
                <c:pt idx="2078" formatCode="_-* #\ ##0_-;\-* #\ ##0_-;_-* &quot;-&quot;??_-;_-@_-">
                  <c:v>7450</c:v>
                </c:pt>
                <c:pt idx="2079" formatCode="_-* #\ ##0_-;\-* #\ ##0_-;_-* &quot;-&quot;??_-;_-@_-">
                  <c:v>7475</c:v>
                </c:pt>
                <c:pt idx="2080" formatCode="_-* #\ ##0_-;\-* #\ ##0_-;_-* &quot;-&quot;??_-;_-@_-">
                  <c:v>7500</c:v>
                </c:pt>
                <c:pt idx="2081" formatCode="_-* #\ ##0_-;\-* #\ ##0_-;_-* &quot;-&quot;??_-;_-@_-">
                  <c:v>7525</c:v>
                </c:pt>
                <c:pt idx="2082" formatCode="_-* #\ ##0_-;\-* #\ ##0_-;_-* &quot;-&quot;??_-;_-@_-">
                  <c:v>7550</c:v>
                </c:pt>
                <c:pt idx="2083" formatCode="_-* #\ ##0_-;\-* #\ ##0_-;_-* &quot;-&quot;??_-;_-@_-">
                  <c:v>7575</c:v>
                </c:pt>
                <c:pt idx="2084" formatCode="_-* #\ ##0_-;\-* #\ ##0_-;_-* &quot;-&quot;??_-;_-@_-">
                  <c:v>7600</c:v>
                </c:pt>
                <c:pt idx="2085" formatCode="_-* #\ ##0_-;\-* #\ ##0_-;_-* &quot;-&quot;??_-;_-@_-">
                  <c:v>7625</c:v>
                </c:pt>
                <c:pt idx="2086" formatCode="_-* #\ ##0_-;\-* #\ ##0_-;_-* &quot;-&quot;??_-;_-@_-">
                  <c:v>7650</c:v>
                </c:pt>
                <c:pt idx="2087" formatCode="_-* #\ ##0_-;\-* #\ ##0_-;_-* &quot;-&quot;??_-;_-@_-">
                  <c:v>7675</c:v>
                </c:pt>
                <c:pt idx="2088" formatCode="_-* #\ ##0_-;\-* #\ ##0_-;_-* &quot;-&quot;??_-;_-@_-">
                  <c:v>7700</c:v>
                </c:pt>
                <c:pt idx="2089" formatCode="_-* #\ ##0_-;\-* #\ ##0_-;_-* &quot;-&quot;??_-;_-@_-">
                  <c:v>7725</c:v>
                </c:pt>
                <c:pt idx="2090" formatCode="_-* #\ ##0_-;\-* #\ ##0_-;_-* &quot;-&quot;??_-;_-@_-">
                  <c:v>7750</c:v>
                </c:pt>
                <c:pt idx="2091" formatCode="_-* #\ ##0_-;\-* #\ ##0_-;_-* &quot;-&quot;??_-;_-@_-">
                  <c:v>7775</c:v>
                </c:pt>
                <c:pt idx="2092" formatCode="_-* #\ ##0_-;\-* #\ ##0_-;_-* &quot;-&quot;??_-;_-@_-">
                  <c:v>7800</c:v>
                </c:pt>
                <c:pt idx="2093" formatCode="_-* #\ ##0_-;\-* #\ ##0_-;_-* &quot;-&quot;??_-;_-@_-">
                  <c:v>7825</c:v>
                </c:pt>
                <c:pt idx="2094" formatCode="_-* #\ ##0_-;\-* #\ ##0_-;_-* &quot;-&quot;??_-;_-@_-">
                  <c:v>7850</c:v>
                </c:pt>
                <c:pt idx="2095" formatCode="_-* #\ ##0_-;\-* #\ ##0_-;_-* &quot;-&quot;??_-;_-@_-">
                  <c:v>7875</c:v>
                </c:pt>
                <c:pt idx="2096" formatCode="_-* #\ ##0_-;\-* #\ ##0_-;_-* &quot;-&quot;??_-;_-@_-">
                  <c:v>7900</c:v>
                </c:pt>
                <c:pt idx="2097" formatCode="_-* #\ ##0_-;\-* #\ ##0_-;_-* &quot;-&quot;??_-;_-@_-">
                  <c:v>7925</c:v>
                </c:pt>
                <c:pt idx="2098" formatCode="_-* #\ ##0_-;\-* #\ ##0_-;_-* &quot;-&quot;??_-;_-@_-">
                  <c:v>7950</c:v>
                </c:pt>
                <c:pt idx="2099" formatCode="_-* #\ ##0_-;\-* #\ ##0_-;_-* &quot;-&quot;??_-;_-@_-">
                  <c:v>7975</c:v>
                </c:pt>
                <c:pt idx="2100" formatCode="_-* #\ ##0_-;\-* #\ ##0_-;_-* &quot;-&quot;??_-;_-@_-">
                  <c:v>8000</c:v>
                </c:pt>
                <c:pt idx="2101" formatCode="_-* #\ ##0_-;\-* #\ ##0_-;_-* &quot;-&quot;??_-;_-@_-">
                  <c:v>8030</c:v>
                </c:pt>
                <c:pt idx="2102" formatCode="_-* #\ ##0_-;\-* #\ ##0_-;_-* &quot;-&quot;??_-;_-@_-">
                  <c:v>8060</c:v>
                </c:pt>
                <c:pt idx="2103" formatCode="_-* #\ ##0_-;\-* #\ ##0_-;_-* &quot;-&quot;??_-;_-@_-">
                  <c:v>8090</c:v>
                </c:pt>
                <c:pt idx="2104" formatCode="_-* #\ ##0_-;\-* #\ ##0_-;_-* &quot;-&quot;??_-;_-@_-">
                  <c:v>8120</c:v>
                </c:pt>
                <c:pt idx="2105" formatCode="_-* #\ ##0_-;\-* #\ ##0_-;_-* &quot;-&quot;??_-;_-@_-">
                  <c:v>8150</c:v>
                </c:pt>
                <c:pt idx="2106" formatCode="_-* #\ ##0_-;\-* #\ ##0_-;_-* &quot;-&quot;??_-;_-@_-">
                  <c:v>8180</c:v>
                </c:pt>
                <c:pt idx="2107" formatCode="_-* #\ ##0_-;\-* #\ ##0_-;_-* &quot;-&quot;??_-;_-@_-">
                  <c:v>8210</c:v>
                </c:pt>
                <c:pt idx="2108" formatCode="_-* #\ ##0_-;\-* #\ ##0_-;_-* &quot;-&quot;??_-;_-@_-">
                  <c:v>8240</c:v>
                </c:pt>
                <c:pt idx="2109" formatCode="_-* #\ ##0_-;\-* #\ ##0_-;_-* &quot;-&quot;??_-;_-@_-">
                  <c:v>8270</c:v>
                </c:pt>
                <c:pt idx="2110" formatCode="_-* #\ ##0_-;\-* #\ ##0_-;_-* &quot;-&quot;??_-;_-@_-">
                  <c:v>8300</c:v>
                </c:pt>
                <c:pt idx="2111" formatCode="_-* #\ ##0_-;\-* #\ ##0_-;_-* &quot;-&quot;??_-;_-@_-">
                  <c:v>8330</c:v>
                </c:pt>
                <c:pt idx="2112" formatCode="_-* #\ ##0_-;\-* #\ ##0_-;_-* &quot;-&quot;??_-;_-@_-">
                  <c:v>8360</c:v>
                </c:pt>
                <c:pt idx="2113" formatCode="_-* #\ ##0_-;\-* #\ ##0_-;_-* &quot;-&quot;??_-;_-@_-">
                  <c:v>8390</c:v>
                </c:pt>
                <c:pt idx="2114" formatCode="_-* #\ ##0_-;\-* #\ ##0_-;_-* &quot;-&quot;??_-;_-@_-">
                  <c:v>8420</c:v>
                </c:pt>
                <c:pt idx="2115" formatCode="_-* #\ ##0_-;\-* #\ ##0_-;_-* &quot;-&quot;??_-;_-@_-">
                  <c:v>8450</c:v>
                </c:pt>
                <c:pt idx="2116" formatCode="_-* #\ ##0_-;\-* #\ ##0_-;_-* &quot;-&quot;??_-;_-@_-">
                  <c:v>8480</c:v>
                </c:pt>
                <c:pt idx="2117" formatCode="_-* #\ ##0_-;\-* #\ ##0_-;_-* &quot;-&quot;??_-;_-@_-">
                  <c:v>8510</c:v>
                </c:pt>
                <c:pt idx="2118" formatCode="_-* #\ ##0_-;\-* #\ ##0_-;_-* &quot;-&quot;??_-;_-@_-">
                  <c:v>8540</c:v>
                </c:pt>
                <c:pt idx="2119" formatCode="_-* #\ ##0_-;\-* #\ ##0_-;_-* &quot;-&quot;??_-;_-@_-">
                  <c:v>8570</c:v>
                </c:pt>
                <c:pt idx="2120" formatCode="_-* #\ ##0_-;\-* #\ ##0_-;_-* &quot;-&quot;??_-;_-@_-">
                  <c:v>8600</c:v>
                </c:pt>
                <c:pt idx="2121" formatCode="_-* #\ ##0_-;\-* #\ ##0_-;_-* &quot;-&quot;??_-;_-@_-">
                  <c:v>8630</c:v>
                </c:pt>
                <c:pt idx="2122" formatCode="_-* #\ ##0_-;\-* #\ ##0_-;_-* &quot;-&quot;??_-;_-@_-">
                  <c:v>8660</c:v>
                </c:pt>
                <c:pt idx="2123" formatCode="_-* #\ ##0_-;\-* #\ ##0_-;_-* &quot;-&quot;??_-;_-@_-">
                  <c:v>8690</c:v>
                </c:pt>
                <c:pt idx="2124" formatCode="_-* #\ ##0_-;\-* #\ ##0_-;_-* &quot;-&quot;??_-;_-@_-">
                  <c:v>8720</c:v>
                </c:pt>
                <c:pt idx="2125" formatCode="_-* #\ ##0_-;\-* #\ ##0_-;_-* &quot;-&quot;??_-;_-@_-">
                  <c:v>8750</c:v>
                </c:pt>
                <c:pt idx="2126" formatCode="_-* #\ ##0_-;\-* #\ ##0_-;_-* &quot;-&quot;??_-;_-@_-">
                  <c:v>8780</c:v>
                </c:pt>
                <c:pt idx="2127" formatCode="_-* #\ ##0_-;\-* #\ ##0_-;_-* &quot;-&quot;??_-;_-@_-">
                  <c:v>8810</c:v>
                </c:pt>
                <c:pt idx="2128" formatCode="_-* #\ ##0_-;\-* #\ ##0_-;_-* &quot;-&quot;??_-;_-@_-">
                  <c:v>8840</c:v>
                </c:pt>
                <c:pt idx="2129" formatCode="_-* #\ ##0_-;\-* #\ ##0_-;_-* &quot;-&quot;??_-;_-@_-">
                  <c:v>8870</c:v>
                </c:pt>
                <c:pt idx="2130" formatCode="_-* #\ ##0_-;\-* #\ ##0_-;_-* &quot;-&quot;??_-;_-@_-">
                  <c:v>8900</c:v>
                </c:pt>
                <c:pt idx="2131" formatCode="_-* #\ ##0_-;\-* #\ ##0_-;_-* &quot;-&quot;??_-;_-@_-">
                  <c:v>8930</c:v>
                </c:pt>
                <c:pt idx="2132" formatCode="_-* #\ ##0_-;\-* #\ ##0_-;_-* &quot;-&quot;??_-;_-@_-">
                  <c:v>8960</c:v>
                </c:pt>
                <c:pt idx="2133" formatCode="_-* #\ ##0_-;\-* #\ ##0_-;_-* &quot;-&quot;??_-;_-@_-">
                  <c:v>8990</c:v>
                </c:pt>
                <c:pt idx="2134" formatCode="_-* #\ ##0_-;\-* #\ ##0_-;_-* &quot;-&quot;??_-;_-@_-">
                  <c:v>9020</c:v>
                </c:pt>
                <c:pt idx="2135" formatCode="_-* #\ ##0_-;\-* #\ ##0_-;_-* &quot;-&quot;??_-;_-@_-">
                  <c:v>9050</c:v>
                </c:pt>
                <c:pt idx="2136" formatCode="_-* #\ ##0_-;\-* #\ ##0_-;_-* &quot;-&quot;??_-;_-@_-">
                  <c:v>9080</c:v>
                </c:pt>
                <c:pt idx="2137" formatCode="_-* #\ ##0_-;\-* #\ ##0_-;_-* &quot;-&quot;??_-;_-@_-">
                  <c:v>9110</c:v>
                </c:pt>
                <c:pt idx="2138" formatCode="_-* #\ ##0_-;\-* #\ ##0_-;_-* &quot;-&quot;??_-;_-@_-">
                  <c:v>9140</c:v>
                </c:pt>
                <c:pt idx="2139" formatCode="_-* #\ ##0_-;\-* #\ ##0_-;_-* &quot;-&quot;??_-;_-@_-">
                  <c:v>9170</c:v>
                </c:pt>
                <c:pt idx="2140" formatCode="_-* #\ ##0_-;\-* #\ ##0_-;_-* &quot;-&quot;??_-;_-@_-">
                  <c:v>9200</c:v>
                </c:pt>
                <c:pt idx="2141" formatCode="_-* #\ ##0_-;\-* #\ ##0_-;_-* &quot;-&quot;??_-;_-@_-">
                  <c:v>9230</c:v>
                </c:pt>
                <c:pt idx="2142" formatCode="_-* #\ ##0_-;\-* #\ ##0_-;_-* &quot;-&quot;??_-;_-@_-">
                  <c:v>9260</c:v>
                </c:pt>
                <c:pt idx="2143" formatCode="_-* #\ ##0_-;\-* #\ ##0_-;_-* &quot;-&quot;??_-;_-@_-">
                  <c:v>9290</c:v>
                </c:pt>
                <c:pt idx="2144" formatCode="_-* #\ ##0_-;\-* #\ ##0_-;_-* &quot;-&quot;??_-;_-@_-">
                  <c:v>9320</c:v>
                </c:pt>
                <c:pt idx="2145" formatCode="_-* #\ ##0_-;\-* #\ ##0_-;_-* &quot;-&quot;??_-;_-@_-">
                  <c:v>9350</c:v>
                </c:pt>
                <c:pt idx="2146" formatCode="_-* #\ ##0_-;\-* #\ ##0_-;_-* &quot;-&quot;??_-;_-@_-">
                  <c:v>9380</c:v>
                </c:pt>
                <c:pt idx="2147" formatCode="_-* #\ ##0_-;\-* #\ ##0_-;_-* &quot;-&quot;??_-;_-@_-">
                  <c:v>9410</c:v>
                </c:pt>
                <c:pt idx="2148" formatCode="_-* #\ ##0_-;\-* #\ ##0_-;_-* &quot;-&quot;??_-;_-@_-">
                  <c:v>9440</c:v>
                </c:pt>
                <c:pt idx="2149" formatCode="_-* #\ ##0_-;\-* #\ ##0_-;_-* &quot;-&quot;??_-;_-@_-">
                  <c:v>9470</c:v>
                </c:pt>
                <c:pt idx="2150" formatCode="_-* #\ ##0_-;\-* #\ ##0_-;_-* &quot;-&quot;??_-;_-@_-">
                  <c:v>9500</c:v>
                </c:pt>
                <c:pt idx="2151" formatCode="_-* #\ ##0_-;\-* #\ ##0_-;_-* &quot;-&quot;??_-;_-@_-">
                  <c:v>9530</c:v>
                </c:pt>
                <c:pt idx="2152" formatCode="_-* #\ ##0_-;\-* #\ ##0_-;_-* &quot;-&quot;??_-;_-@_-">
                  <c:v>9560</c:v>
                </c:pt>
                <c:pt idx="2153" formatCode="_-* #\ ##0_-;\-* #\ ##0_-;_-* &quot;-&quot;??_-;_-@_-">
                  <c:v>9590</c:v>
                </c:pt>
                <c:pt idx="2154" formatCode="_-* #\ ##0_-;\-* #\ ##0_-;_-* &quot;-&quot;??_-;_-@_-">
                  <c:v>9620</c:v>
                </c:pt>
                <c:pt idx="2155" formatCode="_-* #\ ##0_-;\-* #\ ##0_-;_-* &quot;-&quot;??_-;_-@_-">
                  <c:v>9650</c:v>
                </c:pt>
                <c:pt idx="2156" formatCode="_-* #\ ##0_-;\-* #\ ##0_-;_-* &quot;-&quot;??_-;_-@_-">
                  <c:v>9680</c:v>
                </c:pt>
                <c:pt idx="2157" formatCode="_-* #\ ##0_-;\-* #\ ##0_-;_-* &quot;-&quot;??_-;_-@_-">
                  <c:v>9710</c:v>
                </c:pt>
                <c:pt idx="2158" formatCode="_-* #\ ##0_-;\-* #\ ##0_-;_-* &quot;-&quot;??_-;_-@_-">
                  <c:v>9740</c:v>
                </c:pt>
                <c:pt idx="2159" formatCode="_-* #\ ##0_-;\-* #\ ##0_-;_-* &quot;-&quot;??_-;_-@_-">
                  <c:v>9770</c:v>
                </c:pt>
                <c:pt idx="2160" formatCode="_-* #\ ##0_-;\-* #\ ##0_-;_-* &quot;-&quot;??_-;_-@_-">
                  <c:v>9800</c:v>
                </c:pt>
                <c:pt idx="2161" formatCode="_-* #\ ##0_-;\-* #\ ##0_-;_-* &quot;-&quot;??_-;_-@_-">
                  <c:v>9830</c:v>
                </c:pt>
                <c:pt idx="2162" formatCode="_-* #\ ##0_-;\-* #\ ##0_-;_-* &quot;-&quot;??_-;_-@_-">
                  <c:v>9860</c:v>
                </c:pt>
                <c:pt idx="2163" formatCode="_-* #\ ##0_-;\-* #\ ##0_-;_-* &quot;-&quot;??_-;_-@_-">
                  <c:v>9890</c:v>
                </c:pt>
                <c:pt idx="2164" formatCode="_-* #\ ##0_-;\-* #\ ##0_-;_-* &quot;-&quot;??_-;_-@_-">
                  <c:v>9920</c:v>
                </c:pt>
                <c:pt idx="2165" formatCode="_-* #\ ##0_-;\-* #\ ##0_-;_-* &quot;-&quot;??_-;_-@_-">
                  <c:v>9950</c:v>
                </c:pt>
                <c:pt idx="2166" formatCode="_-* #\ ##0_-;\-* #\ ##0_-;_-* &quot;-&quot;??_-;_-@_-">
                  <c:v>9980</c:v>
                </c:pt>
                <c:pt idx="2167" formatCode="_-* #\ ##0_-;\-* #\ ##0_-;_-* &quot;-&quot;??_-;_-@_-">
                  <c:v>10010</c:v>
                </c:pt>
                <c:pt idx="2168" formatCode="_-* #\ ##0_-;\-* #\ ##0_-;_-* &quot;-&quot;??_-;_-@_-">
                  <c:v>10040</c:v>
                </c:pt>
                <c:pt idx="2169" formatCode="_-* #\ ##0_-;\-* #\ ##0_-;_-* &quot;-&quot;??_-;_-@_-">
                  <c:v>10070</c:v>
                </c:pt>
                <c:pt idx="2170" formatCode="_-* #\ ##0_-;\-* #\ ##0_-;_-* &quot;-&quot;??_-;_-@_-">
                  <c:v>10100</c:v>
                </c:pt>
                <c:pt idx="2171" formatCode="_-* #\ ##0_-;\-* #\ ##0_-;_-* &quot;-&quot;??_-;_-@_-">
                  <c:v>10130</c:v>
                </c:pt>
                <c:pt idx="2172" formatCode="_-* #\ ##0_-;\-* #\ ##0_-;_-* &quot;-&quot;??_-;_-@_-">
                  <c:v>10160</c:v>
                </c:pt>
                <c:pt idx="2173" formatCode="_-* #\ ##0_-;\-* #\ ##0_-;_-* &quot;-&quot;??_-;_-@_-">
                  <c:v>10190</c:v>
                </c:pt>
                <c:pt idx="2174" formatCode="_-* #\ ##0_-;\-* #\ ##0_-;_-* &quot;-&quot;??_-;_-@_-">
                  <c:v>10220</c:v>
                </c:pt>
                <c:pt idx="2175" formatCode="_-* #\ ##0_-;\-* #\ ##0_-;_-* &quot;-&quot;??_-;_-@_-">
                  <c:v>10250</c:v>
                </c:pt>
                <c:pt idx="2176" formatCode="_-* #\ ##0_-;\-* #\ ##0_-;_-* &quot;-&quot;??_-;_-@_-">
                  <c:v>10280</c:v>
                </c:pt>
                <c:pt idx="2177" formatCode="_-* #\ ##0_-;\-* #\ ##0_-;_-* &quot;-&quot;??_-;_-@_-">
                  <c:v>10310</c:v>
                </c:pt>
                <c:pt idx="2178" formatCode="_-* #\ ##0_-;\-* #\ ##0_-;_-* &quot;-&quot;??_-;_-@_-">
                  <c:v>10340</c:v>
                </c:pt>
                <c:pt idx="2179" formatCode="_-* #\ ##0_-;\-* #\ ##0_-;_-* &quot;-&quot;??_-;_-@_-">
                  <c:v>10370</c:v>
                </c:pt>
                <c:pt idx="2180" formatCode="_-* #\ ##0_-;\-* #\ ##0_-;_-* &quot;-&quot;??_-;_-@_-">
                  <c:v>10400</c:v>
                </c:pt>
                <c:pt idx="2181" formatCode="_-* #\ ##0_-;\-* #\ ##0_-;_-* &quot;-&quot;??_-;_-@_-">
                  <c:v>10430</c:v>
                </c:pt>
                <c:pt idx="2182" formatCode="_-* #\ ##0_-;\-* #\ ##0_-;_-* &quot;-&quot;??_-;_-@_-">
                  <c:v>10460</c:v>
                </c:pt>
                <c:pt idx="2183" formatCode="_-* #\ ##0_-;\-* #\ ##0_-;_-* &quot;-&quot;??_-;_-@_-">
                  <c:v>10490</c:v>
                </c:pt>
                <c:pt idx="2184" formatCode="_-* #\ ##0_-;\-* #\ ##0_-;_-* &quot;-&quot;??_-;_-@_-">
                  <c:v>10520</c:v>
                </c:pt>
                <c:pt idx="2185" formatCode="_-* #\ ##0_-;\-* #\ ##0_-;_-* &quot;-&quot;??_-;_-@_-">
                  <c:v>10550</c:v>
                </c:pt>
                <c:pt idx="2186" formatCode="_-* #\ ##0_-;\-* #\ ##0_-;_-* &quot;-&quot;??_-;_-@_-">
                  <c:v>10580</c:v>
                </c:pt>
                <c:pt idx="2187" formatCode="_-* #\ ##0_-;\-* #\ ##0_-;_-* &quot;-&quot;??_-;_-@_-">
                  <c:v>10610</c:v>
                </c:pt>
                <c:pt idx="2188" formatCode="_-* #\ ##0_-;\-* #\ ##0_-;_-* &quot;-&quot;??_-;_-@_-">
                  <c:v>10640</c:v>
                </c:pt>
                <c:pt idx="2189" formatCode="_-* #\ ##0_-;\-* #\ ##0_-;_-* &quot;-&quot;??_-;_-@_-">
                  <c:v>10670</c:v>
                </c:pt>
                <c:pt idx="2190" formatCode="_-* #\ ##0_-;\-* #\ ##0_-;_-* &quot;-&quot;??_-;_-@_-">
                  <c:v>10700</c:v>
                </c:pt>
                <c:pt idx="2191" formatCode="_-* #\ ##0_-;\-* #\ ##0_-;_-* &quot;-&quot;??_-;_-@_-">
                  <c:v>10730</c:v>
                </c:pt>
                <c:pt idx="2192" formatCode="_-* #\ ##0_-;\-* #\ ##0_-;_-* &quot;-&quot;??_-;_-@_-">
                  <c:v>10760</c:v>
                </c:pt>
                <c:pt idx="2193" formatCode="_-* #\ ##0_-;\-* #\ ##0_-;_-* &quot;-&quot;??_-;_-@_-">
                  <c:v>10790</c:v>
                </c:pt>
                <c:pt idx="2194" formatCode="_-* #\ ##0_-;\-* #\ ##0_-;_-* &quot;-&quot;??_-;_-@_-">
                  <c:v>10820</c:v>
                </c:pt>
                <c:pt idx="2195" formatCode="_-* #\ ##0_-;\-* #\ ##0_-;_-* &quot;-&quot;??_-;_-@_-">
                  <c:v>10850</c:v>
                </c:pt>
                <c:pt idx="2196" formatCode="_-* #\ ##0_-;\-* #\ ##0_-;_-* &quot;-&quot;??_-;_-@_-">
                  <c:v>10880</c:v>
                </c:pt>
                <c:pt idx="2197" formatCode="_-* #\ ##0_-;\-* #\ ##0_-;_-* &quot;-&quot;??_-;_-@_-">
                  <c:v>10910</c:v>
                </c:pt>
                <c:pt idx="2198" formatCode="_-* #\ ##0_-;\-* #\ ##0_-;_-* &quot;-&quot;??_-;_-@_-">
                  <c:v>10940</c:v>
                </c:pt>
                <c:pt idx="2199" formatCode="_-* #\ ##0_-;\-* #\ ##0_-;_-* &quot;-&quot;??_-;_-@_-">
                  <c:v>10970</c:v>
                </c:pt>
                <c:pt idx="2200" formatCode="_-* #\ ##0_-;\-* #\ ##0_-;_-* &quot;-&quot;??_-;_-@_-">
                  <c:v>11000</c:v>
                </c:pt>
                <c:pt idx="2201" formatCode="_-* #\ ##0_-;\-* #\ ##0_-;_-* &quot;-&quot;??_-;_-@_-">
                  <c:v>11030</c:v>
                </c:pt>
                <c:pt idx="2202" formatCode="_-* #\ ##0_-;\-* #\ ##0_-;_-* &quot;-&quot;??_-;_-@_-">
                  <c:v>11060</c:v>
                </c:pt>
                <c:pt idx="2203" formatCode="_-* #\ ##0_-;\-* #\ ##0_-;_-* &quot;-&quot;??_-;_-@_-">
                  <c:v>11090</c:v>
                </c:pt>
                <c:pt idx="2204" formatCode="_-* #\ ##0_-;\-* #\ ##0_-;_-* &quot;-&quot;??_-;_-@_-">
                  <c:v>11120</c:v>
                </c:pt>
                <c:pt idx="2205" formatCode="_-* #\ ##0_-;\-* #\ ##0_-;_-* &quot;-&quot;??_-;_-@_-">
                  <c:v>11150</c:v>
                </c:pt>
                <c:pt idx="2206" formatCode="_-* #\ ##0_-;\-* #\ ##0_-;_-* &quot;-&quot;??_-;_-@_-">
                  <c:v>11180</c:v>
                </c:pt>
                <c:pt idx="2207" formatCode="_-* #\ ##0_-;\-* #\ ##0_-;_-* &quot;-&quot;??_-;_-@_-">
                  <c:v>11210</c:v>
                </c:pt>
                <c:pt idx="2208" formatCode="_-* #\ ##0_-;\-* #\ ##0_-;_-* &quot;-&quot;??_-;_-@_-">
                  <c:v>11240</c:v>
                </c:pt>
                <c:pt idx="2209" formatCode="_-* #\ ##0_-;\-* #\ ##0_-;_-* &quot;-&quot;??_-;_-@_-">
                  <c:v>11270</c:v>
                </c:pt>
                <c:pt idx="2210" formatCode="_-* #\ ##0_-;\-* #\ ##0_-;_-* &quot;-&quot;??_-;_-@_-">
                  <c:v>11300</c:v>
                </c:pt>
                <c:pt idx="2211" formatCode="_-* #\ ##0_-;\-* #\ ##0_-;_-* &quot;-&quot;??_-;_-@_-">
                  <c:v>11330</c:v>
                </c:pt>
                <c:pt idx="2212" formatCode="_-* #\ ##0_-;\-* #\ ##0_-;_-* &quot;-&quot;??_-;_-@_-">
                  <c:v>11360</c:v>
                </c:pt>
                <c:pt idx="2213" formatCode="_-* #\ ##0_-;\-* #\ ##0_-;_-* &quot;-&quot;??_-;_-@_-">
                  <c:v>11390</c:v>
                </c:pt>
                <c:pt idx="2214" formatCode="_-* #\ ##0_-;\-* #\ ##0_-;_-* &quot;-&quot;??_-;_-@_-">
                  <c:v>11420</c:v>
                </c:pt>
                <c:pt idx="2215" formatCode="_-* #\ ##0_-;\-* #\ ##0_-;_-* &quot;-&quot;??_-;_-@_-">
                  <c:v>11450</c:v>
                </c:pt>
                <c:pt idx="2216" formatCode="_-* #\ ##0_-;\-* #\ ##0_-;_-* &quot;-&quot;??_-;_-@_-">
                  <c:v>11480</c:v>
                </c:pt>
                <c:pt idx="2217" formatCode="_-* #\ ##0_-;\-* #\ ##0_-;_-* &quot;-&quot;??_-;_-@_-">
                  <c:v>11510</c:v>
                </c:pt>
                <c:pt idx="2218" formatCode="_-* #\ ##0_-;\-* #\ ##0_-;_-* &quot;-&quot;??_-;_-@_-">
                  <c:v>11540</c:v>
                </c:pt>
                <c:pt idx="2219" formatCode="_-* #\ ##0_-;\-* #\ ##0_-;_-* &quot;-&quot;??_-;_-@_-">
                  <c:v>11570</c:v>
                </c:pt>
                <c:pt idx="2220" formatCode="_-* #\ ##0_-;\-* #\ ##0_-;_-* &quot;-&quot;??_-;_-@_-">
                  <c:v>11600</c:v>
                </c:pt>
                <c:pt idx="2221" formatCode="_-* #\ ##0_-;\-* #\ ##0_-;_-* &quot;-&quot;??_-;_-@_-">
                  <c:v>11630</c:v>
                </c:pt>
                <c:pt idx="2222" formatCode="_-* #\ ##0_-;\-* #\ ##0_-;_-* &quot;-&quot;??_-;_-@_-">
                  <c:v>11660</c:v>
                </c:pt>
                <c:pt idx="2223" formatCode="_-* #\ ##0_-;\-* #\ ##0_-;_-* &quot;-&quot;??_-;_-@_-">
                  <c:v>11690</c:v>
                </c:pt>
                <c:pt idx="2224" formatCode="_-* #\ ##0_-;\-* #\ ##0_-;_-* &quot;-&quot;??_-;_-@_-">
                  <c:v>11720</c:v>
                </c:pt>
                <c:pt idx="2225" formatCode="_-* #\ ##0_-;\-* #\ ##0_-;_-* &quot;-&quot;??_-;_-@_-">
                  <c:v>11750</c:v>
                </c:pt>
                <c:pt idx="2226" formatCode="_-* #\ ##0_-;\-* #\ ##0_-;_-* &quot;-&quot;??_-;_-@_-">
                  <c:v>11780</c:v>
                </c:pt>
                <c:pt idx="2227" formatCode="_-* #\ ##0_-;\-* #\ ##0_-;_-* &quot;-&quot;??_-;_-@_-">
                  <c:v>11810</c:v>
                </c:pt>
                <c:pt idx="2228" formatCode="_-* #\ ##0_-;\-* #\ ##0_-;_-* &quot;-&quot;??_-;_-@_-">
                  <c:v>11840</c:v>
                </c:pt>
                <c:pt idx="2229" formatCode="_-* #\ ##0_-;\-* #\ ##0_-;_-* &quot;-&quot;??_-;_-@_-">
                  <c:v>11870</c:v>
                </c:pt>
                <c:pt idx="2230" formatCode="_-* #\ ##0_-;\-* #\ ##0_-;_-* &quot;-&quot;??_-;_-@_-">
                  <c:v>11900</c:v>
                </c:pt>
                <c:pt idx="2231" formatCode="_-* #\ ##0_-;\-* #\ ##0_-;_-* &quot;-&quot;??_-;_-@_-">
                  <c:v>11930</c:v>
                </c:pt>
                <c:pt idx="2232" formatCode="_-* #\ ##0_-;\-* #\ ##0_-;_-* &quot;-&quot;??_-;_-@_-">
                  <c:v>11960</c:v>
                </c:pt>
                <c:pt idx="2233" formatCode="_-* #\ ##0_-;\-* #\ ##0_-;_-* &quot;-&quot;??_-;_-@_-">
                  <c:v>11990</c:v>
                </c:pt>
                <c:pt idx="2234" formatCode="_-* #\ ##0_-;\-* #\ ##0_-;_-* &quot;-&quot;??_-;_-@_-">
                  <c:v>12020</c:v>
                </c:pt>
                <c:pt idx="2235" formatCode="_-* #\ ##0_-;\-* #\ ##0_-;_-* &quot;-&quot;??_-;_-@_-">
                  <c:v>12050</c:v>
                </c:pt>
                <c:pt idx="2236" formatCode="_-* #\ ##0_-;\-* #\ ##0_-;_-* &quot;-&quot;??_-;_-@_-">
                  <c:v>12080</c:v>
                </c:pt>
                <c:pt idx="2237" formatCode="_-* #\ ##0_-;\-* #\ ##0_-;_-* &quot;-&quot;??_-;_-@_-">
                  <c:v>12110</c:v>
                </c:pt>
                <c:pt idx="2238" formatCode="_-* #\ ##0_-;\-* #\ ##0_-;_-* &quot;-&quot;??_-;_-@_-">
                  <c:v>12140</c:v>
                </c:pt>
                <c:pt idx="2239" formatCode="_-* #\ ##0_-;\-* #\ ##0_-;_-* &quot;-&quot;??_-;_-@_-">
                  <c:v>12170</c:v>
                </c:pt>
                <c:pt idx="2240" formatCode="_-* #\ ##0_-;\-* #\ ##0_-;_-* &quot;-&quot;??_-;_-@_-">
                  <c:v>12200</c:v>
                </c:pt>
                <c:pt idx="2241" formatCode="_-* #\ ##0_-;\-* #\ ##0_-;_-* &quot;-&quot;??_-;_-@_-">
                  <c:v>12230</c:v>
                </c:pt>
                <c:pt idx="2242" formatCode="_-* #\ ##0_-;\-* #\ ##0_-;_-* &quot;-&quot;??_-;_-@_-">
                  <c:v>12260</c:v>
                </c:pt>
                <c:pt idx="2243" formatCode="_-* #\ ##0_-;\-* #\ ##0_-;_-* &quot;-&quot;??_-;_-@_-">
                  <c:v>12290</c:v>
                </c:pt>
                <c:pt idx="2244" formatCode="_-* #\ ##0_-;\-* #\ ##0_-;_-* &quot;-&quot;??_-;_-@_-">
                  <c:v>12320</c:v>
                </c:pt>
                <c:pt idx="2245" formatCode="_-* #\ ##0_-;\-* #\ ##0_-;_-* &quot;-&quot;??_-;_-@_-">
                  <c:v>12350</c:v>
                </c:pt>
                <c:pt idx="2246" formatCode="_-* #\ ##0_-;\-* #\ ##0_-;_-* &quot;-&quot;??_-;_-@_-">
                  <c:v>12380</c:v>
                </c:pt>
                <c:pt idx="2247" formatCode="_-* #\ ##0_-;\-* #\ ##0_-;_-* &quot;-&quot;??_-;_-@_-">
                  <c:v>12410</c:v>
                </c:pt>
                <c:pt idx="2248" formatCode="_-* #\ ##0_-;\-* #\ ##0_-;_-* &quot;-&quot;??_-;_-@_-">
                  <c:v>12440</c:v>
                </c:pt>
                <c:pt idx="2249" formatCode="_-* #\ ##0_-;\-* #\ ##0_-;_-* &quot;-&quot;??_-;_-@_-">
                  <c:v>12470</c:v>
                </c:pt>
                <c:pt idx="2250" formatCode="_-* #\ ##0_-;\-* #\ ##0_-;_-* &quot;-&quot;??_-;_-@_-">
                  <c:v>12500</c:v>
                </c:pt>
                <c:pt idx="2251" formatCode="_-* #\ ##0_-;\-* #\ ##0_-;_-* &quot;-&quot;??_-;_-@_-">
                  <c:v>12530</c:v>
                </c:pt>
                <c:pt idx="2252" formatCode="_-* #\ ##0_-;\-* #\ ##0_-;_-* &quot;-&quot;??_-;_-@_-">
                  <c:v>12560</c:v>
                </c:pt>
                <c:pt idx="2253" formatCode="_-* #\ ##0_-;\-* #\ ##0_-;_-* &quot;-&quot;??_-;_-@_-">
                  <c:v>12590</c:v>
                </c:pt>
                <c:pt idx="2254" formatCode="_-* #\ ##0_-;\-* #\ ##0_-;_-* &quot;-&quot;??_-;_-@_-">
                  <c:v>12620</c:v>
                </c:pt>
                <c:pt idx="2255" formatCode="_-* #\ ##0_-;\-* #\ ##0_-;_-* &quot;-&quot;??_-;_-@_-">
                  <c:v>12650</c:v>
                </c:pt>
                <c:pt idx="2256" formatCode="_-* #\ ##0_-;\-* #\ ##0_-;_-* &quot;-&quot;??_-;_-@_-">
                  <c:v>12680</c:v>
                </c:pt>
                <c:pt idx="2257" formatCode="_-* #\ ##0_-;\-* #\ ##0_-;_-* &quot;-&quot;??_-;_-@_-">
                  <c:v>12710</c:v>
                </c:pt>
                <c:pt idx="2258" formatCode="_-* #\ ##0_-;\-* #\ ##0_-;_-* &quot;-&quot;??_-;_-@_-">
                  <c:v>12740</c:v>
                </c:pt>
                <c:pt idx="2259" formatCode="_-* #\ ##0_-;\-* #\ ##0_-;_-* &quot;-&quot;??_-;_-@_-">
                  <c:v>12770</c:v>
                </c:pt>
                <c:pt idx="2260" formatCode="_-* #\ ##0_-;\-* #\ ##0_-;_-* &quot;-&quot;??_-;_-@_-">
                  <c:v>12800</c:v>
                </c:pt>
                <c:pt idx="2261" formatCode="_-* #\ ##0_-;\-* #\ ##0_-;_-* &quot;-&quot;??_-;_-@_-">
                  <c:v>12830</c:v>
                </c:pt>
                <c:pt idx="2262" formatCode="_-* #\ ##0_-;\-* #\ ##0_-;_-* &quot;-&quot;??_-;_-@_-">
                  <c:v>12860</c:v>
                </c:pt>
                <c:pt idx="2263" formatCode="_-* #\ ##0_-;\-* #\ ##0_-;_-* &quot;-&quot;??_-;_-@_-">
                  <c:v>12890</c:v>
                </c:pt>
                <c:pt idx="2264" formatCode="_-* #\ ##0_-;\-* #\ ##0_-;_-* &quot;-&quot;??_-;_-@_-">
                  <c:v>12920</c:v>
                </c:pt>
                <c:pt idx="2265" formatCode="_-* #\ ##0_-;\-* #\ ##0_-;_-* &quot;-&quot;??_-;_-@_-">
                  <c:v>12950</c:v>
                </c:pt>
                <c:pt idx="2266" formatCode="_-* #\ ##0_-;\-* #\ ##0_-;_-* &quot;-&quot;??_-;_-@_-">
                  <c:v>12980</c:v>
                </c:pt>
                <c:pt idx="2267" formatCode="_-* #\ ##0_-;\-* #\ ##0_-;_-* &quot;-&quot;??_-;_-@_-">
                  <c:v>13010</c:v>
                </c:pt>
                <c:pt idx="2268" formatCode="_-* #\ ##0_-;\-* #\ ##0_-;_-* &quot;-&quot;??_-;_-@_-">
                  <c:v>13040</c:v>
                </c:pt>
                <c:pt idx="2269" formatCode="_-* #\ ##0_-;\-* #\ ##0_-;_-* &quot;-&quot;??_-;_-@_-">
                  <c:v>13070</c:v>
                </c:pt>
                <c:pt idx="2270" formatCode="_-* #\ ##0_-;\-* #\ ##0_-;_-* &quot;-&quot;??_-;_-@_-">
                  <c:v>13100</c:v>
                </c:pt>
                <c:pt idx="2271" formatCode="_-* #\ ##0_-;\-* #\ ##0_-;_-* &quot;-&quot;??_-;_-@_-">
                  <c:v>13130</c:v>
                </c:pt>
                <c:pt idx="2272" formatCode="_-* #\ ##0_-;\-* #\ ##0_-;_-* &quot;-&quot;??_-;_-@_-">
                  <c:v>13160</c:v>
                </c:pt>
                <c:pt idx="2273" formatCode="_-* #\ ##0_-;\-* #\ ##0_-;_-* &quot;-&quot;??_-;_-@_-">
                  <c:v>13190</c:v>
                </c:pt>
                <c:pt idx="2274" formatCode="_-* #\ ##0_-;\-* #\ ##0_-;_-* &quot;-&quot;??_-;_-@_-">
                  <c:v>13220</c:v>
                </c:pt>
                <c:pt idx="2275" formatCode="_-* #\ ##0_-;\-* #\ ##0_-;_-* &quot;-&quot;??_-;_-@_-">
                  <c:v>13250</c:v>
                </c:pt>
                <c:pt idx="2276" formatCode="_-* #\ ##0_-;\-* #\ ##0_-;_-* &quot;-&quot;??_-;_-@_-">
                  <c:v>13280</c:v>
                </c:pt>
                <c:pt idx="2277" formatCode="_-* #\ ##0_-;\-* #\ ##0_-;_-* &quot;-&quot;??_-;_-@_-">
                  <c:v>13310</c:v>
                </c:pt>
                <c:pt idx="2278" formatCode="_-* #\ ##0_-;\-* #\ ##0_-;_-* &quot;-&quot;??_-;_-@_-">
                  <c:v>13340</c:v>
                </c:pt>
                <c:pt idx="2279" formatCode="_-* #\ ##0_-;\-* #\ ##0_-;_-* &quot;-&quot;??_-;_-@_-">
                  <c:v>13370</c:v>
                </c:pt>
                <c:pt idx="2280" formatCode="_-* #\ ##0_-;\-* #\ ##0_-;_-* &quot;-&quot;??_-;_-@_-">
                  <c:v>13400</c:v>
                </c:pt>
                <c:pt idx="2281" formatCode="_-* #\ ##0_-;\-* #\ ##0_-;_-* &quot;-&quot;??_-;_-@_-">
                  <c:v>13430</c:v>
                </c:pt>
                <c:pt idx="2282" formatCode="_-* #\ ##0_-;\-* #\ ##0_-;_-* &quot;-&quot;??_-;_-@_-">
                  <c:v>13460</c:v>
                </c:pt>
                <c:pt idx="2283" formatCode="_-* #\ ##0_-;\-* #\ ##0_-;_-* &quot;-&quot;??_-;_-@_-">
                  <c:v>13490</c:v>
                </c:pt>
                <c:pt idx="2284" formatCode="_-* #\ ##0_-;\-* #\ ##0_-;_-* &quot;-&quot;??_-;_-@_-">
                  <c:v>13520</c:v>
                </c:pt>
                <c:pt idx="2285" formatCode="_-* #\ ##0_-;\-* #\ ##0_-;_-* &quot;-&quot;??_-;_-@_-">
                  <c:v>13550</c:v>
                </c:pt>
                <c:pt idx="2286" formatCode="_-* #\ ##0_-;\-* #\ ##0_-;_-* &quot;-&quot;??_-;_-@_-">
                  <c:v>13580</c:v>
                </c:pt>
                <c:pt idx="2287" formatCode="_-* #\ ##0_-;\-* #\ ##0_-;_-* &quot;-&quot;??_-;_-@_-">
                  <c:v>13610</c:v>
                </c:pt>
                <c:pt idx="2288" formatCode="_-* #\ ##0_-;\-* #\ ##0_-;_-* &quot;-&quot;??_-;_-@_-">
                  <c:v>13640</c:v>
                </c:pt>
                <c:pt idx="2289" formatCode="_-* #\ ##0_-;\-* #\ ##0_-;_-* &quot;-&quot;??_-;_-@_-">
                  <c:v>13670</c:v>
                </c:pt>
                <c:pt idx="2290" formatCode="_-* #\ ##0_-;\-* #\ ##0_-;_-* &quot;-&quot;??_-;_-@_-">
                  <c:v>13700</c:v>
                </c:pt>
                <c:pt idx="2291" formatCode="_-* #\ ##0_-;\-* #\ ##0_-;_-* &quot;-&quot;??_-;_-@_-">
                  <c:v>13730</c:v>
                </c:pt>
                <c:pt idx="2292" formatCode="_-* #\ ##0_-;\-* #\ ##0_-;_-* &quot;-&quot;??_-;_-@_-">
                  <c:v>13760</c:v>
                </c:pt>
                <c:pt idx="2293" formatCode="_-* #\ ##0_-;\-* #\ ##0_-;_-* &quot;-&quot;??_-;_-@_-">
                  <c:v>13790</c:v>
                </c:pt>
                <c:pt idx="2294" formatCode="_-* #\ ##0_-;\-* #\ ##0_-;_-* &quot;-&quot;??_-;_-@_-">
                  <c:v>13820</c:v>
                </c:pt>
                <c:pt idx="2295" formatCode="_-* #\ ##0_-;\-* #\ ##0_-;_-* &quot;-&quot;??_-;_-@_-">
                  <c:v>13850</c:v>
                </c:pt>
                <c:pt idx="2296" formatCode="_-* #\ ##0_-;\-* #\ ##0_-;_-* &quot;-&quot;??_-;_-@_-">
                  <c:v>13880</c:v>
                </c:pt>
                <c:pt idx="2297" formatCode="_-* #\ ##0_-;\-* #\ ##0_-;_-* &quot;-&quot;??_-;_-@_-">
                  <c:v>13910</c:v>
                </c:pt>
                <c:pt idx="2298" formatCode="_-* #\ ##0_-;\-* #\ ##0_-;_-* &quot;-&quot;??_-;_-@_-">
                  <c:v>13940</c:v>
                </c:pt>
                <c:pt idx="2299" formatCode="_-* #\ ##0_-;\-* #\ ##0_-;_-* &quot;-&quot;??_-;_-@_-">
                  <c:v>13970</c:v>
                </c:pt>
                <c:pt idx="2300" formatCode="_-* #\ ##0_-;\-* #\ ##0_-;_-* &quot;-&quot;??_-;_-@_-">
                  <c:v>14000</c:v>
                </c:pt>
                <c:pt idx="2301" formatCode="_-* #\ ##0_-;\-* #\ ##0_-;_-* &quot;-&quot;??_-;_-@_-">
                  <c:v>14030</c:v>
                </c:pt>
                <c:pt idx="2302" formatCode="_-* #\ ##0_-;\-* #\ ##0_-;_-* &quot;-&quot;??_-;_-@_-">
                  <c:v>14060</c:v>
                </c:pt>
                <c:pt idx="2303" formatCode="_-* #\ ##0_-;\-* #\ ##0_-;_-* &quot;-&quot;??_-;_-@_-">
                  <c:v>14090</c:v>
                </c:pt>
                <c:pt idx="2304" formatCode="_-* #\ ##0_-;\-* #\ ##0_-;_-* &quot;-&quot;??_-;_-@_-">
                  <c:v>14120</c:v>
                </c:pt>
                <c:pt idx="2305" formatCode="_-* #\ ##0_-;\-* #\ ##0_-;_-* &quot;-&quot;??_-;_-@_-">
                  <c:v>14150</c:v>
                </c:pt>
                <c:pt idx="2306" formatCode="_-* #\ ##0_-;\-* #\ ##0_-;_-* &quot;-&quot;??_-;_-@_-">
                  <c:v>14180</c:v>
                </c:pt>
                <c:pt idx="2307" formatCode="_-* #\ ##0_-;\-* #\ ##0_-;_-* &quot;-&quot;??_-;_-@_-">
                  <c:v>14210</c:v>
                </c:pt>
                <c:pt idx="2308" formatCode="_-* #\ ##0_-;\-* #\ ##0_-;_-* &quot;-&quot;??_-;_-@_-">
                  <c:v>14240</c:v>
                </c:pt>
                <c:pt idx="2309" formatCode="_-* #\ ##0_-;\-* #\ ##0_-;_-* &quot;-&quot;??_-;_-@_-">
                  <c:v>14270</c:v>
                </c:pt>
                <c:pt idx="2310" formatCode="_-* #\ ##0_-;\-* #\ ##0_-;_-* &quot;-&quot;??_-;_-@_-">
                  <c:v>14300</c:v>
                </c:pt>
                <c:pt idx="2311" formatCode="_-* #\ ##0_-;\-* #\ ##0_-;_-* &quot;-&quot;??_-;_-@_-">
                  <c:v>14330</c:v>
                </c:pt>
                <c:pt idx="2312" formatCode="_-* #\ ##0_-;\-* #\ ##0_-;_-* &quot;-&quot;??_-;_-@_-">
                  <c:v>14360</c:v>
                </c:pt>
                <c:pt idx="2313" formatCode="_-* #\ ##0_-;\-* #\ ##0_-;_-* &quot;-&quot;??_-;_-@_-">
                  <c:v>14390</c:v>
                </c:pt>
                <c:pt idx="2314" formatCode="_-* #\ ##0_-;\-* #\ ##0_-;_-* &quot;-&quot;??_-;_-@_-">
                  <c:v>14420</c:v>
                </c:pt>
                <c:pt idx="2315" formatCode="_-* #\ ##0_-;\-* #\ ##0_-;_-* &quot;-&quot;??_-;_-@_-">
                  <c:v>14450</c:v>
                </c:pt>
                <c:pt idx="2316" formatCode="_-* #\ ##0_-;\-* #\ ##0_-;_-* &quot;-&quot;??_-;_-@_-">
                  <c:v>14480</c:v>
                </c:pt>
                <c:pt idx="2317" formatCode="_-* #\ ##0_-;\-* #\ ##0_-;_-* &quot;-&quot;??_-;_-@_-">
                  <c:v>14510</c:v>
                </c:pt>
                <c:pt idx="2318" formatCode="_-* #\ ##0_-;\-* #\ ##0_-;_-* &quot;-&quot;??_-;_-@_-">
                  <c:v>14540</c:v>
                </c:pt>
                <c:pt idx="2319" formatCode="_-* #\ ##0_-;\-* #\ ##0_-;_-* &quot;-&quot;??_-;_-@_-">
                  <c:v>14570</c:v>
                </c:pt>
                <c:pt idx="2320" formatCode="_-* #\ ##0_-;\-* #\ ##0_-;_-* &quot;-&quot;??_-;_-@_-">
                  <c:v>14600</c:v>
                </c:pt>
                <c:pt idx="2321" formatCode="_-* #\ ##0_-;\-* #\ ##0_-;_-* &quot;-&quot;??_-;_-@_-">
                  <c:v>14630</c:v>
                </c:pt>
                <c:pt idx="2322" formatCode="_-* #\ ##0_-;\-* #\ ##0_-;_-* &quot;-&quot;??_-;_-@_-">
                  <c:v>14660</c:v>
                </c:pt>
                <c:pt idx="2323" formatCode="_-* #\ ##0_-;\-* #\ ##0_-;_-* &quot;-&quot;??_-;_-@_-">
                  <c:v>14690</c:v>
                </c:pt>
                <c:pt idx="2324" formatCode="_-* #\ ##0_-;\-* #\ ##0_-;_-* &quot;-&quot;??_-;_-@_-">
                  <c:v>14720</c:v>
                </c:pt>
                <c:pt idx="2325" formatCode="_-* #\ ##0_-;\-* #\ ##0_-;_-* &quot;-&quot;??_-;_-@_-">
                  <c:v>14750</c:v>
                </c:pt>
                <c:pt idx="2326" formatCode="_-* #\ ##0_-;\-* #\ ##0_-;_-* &quot;-&quot;??_-;_-@_-">
                  <c:v>14780</c:v>
                </c:pt>
                <c:pt idx="2327" formatCode="_-* #\ ##0_-;\-* #\ ##0_-;_-* &quot;-&quot;??_-;_-@_-">
                  <c:v>14810</c:v>
                </c:pt>
                <c:pt idx="2328" formatCode="_-* #\ ##0_-;\-* #\ ##0_-;_-* &quot;-&quot;??_-;_-@_-">
                  <c:v>14840</c:v>
                </c:pt>
                <c:pt idx="2329" formatCode="_-* #\ ##0_-;\-* #\ ##0_-;_-* &quot;-&quot;??_-;_-@_-">
                  <c:v>14870</c:v>
                </c:pt>
                <c:pt idx="2330" formatCode="_-* #\ ##0_-;\-* #\ ##0_-;_-* &quot;-&quot;??_-;_-@_-">
                  <c:v>14900</c:v>
                </c:pt>
                <c:pt idx="2331" formatCode="_-* #\ ##0_-;\-* #\ ##0_-;_-* &quot;-&quot;??_-;_-@_-">
                  <c:v>14930</c:v>
                </c:pt>
                <c:pt idx="2332" formatCode="_-* #\ ##0_-;\-* #\ ##0_-;_-* &quot;-&quot;??_-;_-@_-">
                  <c:v>14960</c:v>
                </c:pt>
                <c:pt idx="2333" formatCode="_-* #\ ##0_-;\-* #\ ##0_-;_-* &quot;-&quot;??_-;_-@_-">
                  <c:v>14990</c:v>
                </c:pt>
                <c:pt idx="2334" formatCode="_-* #\ ##0_-;\-* #\ ##0_-;_-* &quot;-&quot;??_-;_-@_-">
                  <c:v>15020</c:v>
                </c:pt>
                <c:pt idx="2335" formatCode="_-* #\ ##0_-;\-* #\ ##0_-;_-* &quot;-&quot;??_-;_-@_-">
                  <c:v>15050</c:v>
                </c:pt>
                <c:pt idx="2336" formatCode="_-* #\ ##0_-;\-* #\ ##0_-;_-* &quot;-&quot;??_-;_-@_-">
                  <c:v>15080</c:v>
                </c:pt>
                <c:pt idx="2337" formatCode="_-* #\ ##0_-;\-* #\ ##0_-;_-* &quot;-&quot;??_-;_-@_-">
                  <c:v>15110</c:v>
                </c:pt>
                <c:pt idx="2338" formatCode="_-* #\ ##0_-;\-* #\ ##0_-;_-* &quot;-&quot;??_-;_-@_-">
                  <c:v>15140</c:v>
                </c:pt>
                <c:pt idx="2339" formatCode="_-* #\ ##0_-;\-* #\ ##0_-;_-* &quot;-&quot;??_-;_-@_-">
                  <c:v>15170</c:v>
                </c:pt>
                <c:pt idx="2340" formatCode="_-* #\ ##0_-;\-* #\ ##0_-;_-* &quot;-&quot;??_-;_-@_-">
                  <c:v>15200</c:v>
                </c:pt>
                <c:pt idx="2341" formatCode="_-* #\ ##0_-;\-* #\ ##0_-;_-* &quot;-&quot;??_-;_-@_-">
                  <c:v>15230</c:v>
                </c:pt>
                <c:pt idx="2342" formatCode="_-* #\ ##0_-;\-* #\ ##0_-;_-* &quot;-&quot;??_-;_-@_-">
                  <c:v>15260</c:v>
                </c:pt>
                <c:pt idx="2343" formatCode="_-* #\ ##0_-;\-* #\ ##0_-;_-* &quot;-&quot;??_-;_-@_-">
                  <c:v>15290</c:v>
                </c:pt>
                <c:pt idx="2344" formatCode="_-* #\ ##0_-;\-* #\ ##0_-;_-* &quot;-&quot;??_-;_-@_-">
                  <c:v>15320</c:v>
                </c:pt>
                <c:pt idx="2345" formatCode="_-* #\ ##0_-;\-* #\ ##0_-;_-* &quot;-&quot;??_-;_-@_-">
                  <c:v>15350</c:v>
                </c:pt>
                <c:pt idx="2346" formatCode="_-* #\ ##0_-;\-* #\ ##0_-;_-* &quot;-&quot;??_-;_-@_-">
                  <c:v>15380</c:v>
                </c:pt>
                <c:pt idx="2347" formatCode="_-* #\ ##0_-;\-* #\ ##0_-;_-* &quot;-&quot;??_-;_-@_-">
                  <c:v>15410</c:v>
                </c:pt>
                <c:pt idx="2348" formatCode="_-* #\ ##0_-;\-* #\ ##0_-;_-* &quot;-&quot;??_-;_-@_-">
                  <c:v>15440</c:v>
                </c:pt>
                <c:pt idx="2349" formatCode="_-* #\ ##0_-;\-* #\ ##0_-;_-* &quot;-&quot;??_-;_-@_-">
                  <c:v>15470</c:v>
                </c:pt>
                <c:pt idx="2350" formatCode="_-* #\ ##0_-;\-* #\ ##0_-;_-* &quot;-&quot;??_-;_-@_-">
                  <c:v>15500</c:v>
                </c:pt>
                <c:pt idx="2351" formatCode="_-* #\ ##0_-;\-* #\ ##0_-;_-* &quot;-&quot;??_-;_-@_-">
                  <c:v>15530</c:v>
                </c:pt>
                <c:pt idx="2352" formatCode="_-* #\ ##0_-;\-* #\ ##0_-;_-* &quot;-&quot;??_-;_-@_-">
                  <c:v>15560</c:v>
                </c:pt>
                <c:pt idx="2353" formatCode="_-* #\ ##0_-;\-* #\ ##0_-;_-* &quot;-&quot;??_-;_-@_-">
                  <c:v>15590</c:v>
                </c:pt>
                <c:pt idx="2354" formatCode="_-* #\ ##0_-;\-* #\ ##0_-;_-* &quot;-&quot;??_-;_-@_-">
                  <c:v>15620</c:v>
                </c:pt>
                <c:pt idx="2355" formatCode="_-* #\ ##0_-;\-* #\ ##0_-;_-* &quot;-&quot;??_-;_-@_-">
                  <c:v>15650</c:v>
                </c:pt>
                <c:pt idx="2356" formatCode="_-* #\ ##0_-;\-* #\ ##0_-;_-* &quot;-&quot;??_-;_-@_-">
                  <c:v>15680</c:v>
                </c:pt>
                <c:pt idx="2357" formatCode="_-* #\ ##0_-;\-* #\ ##0_-;_-* &quot;-&quot;??_-;_-@_-">
                  <c:v>15710</c:v>
                </c:pt>
                <c:pt idx="2358" formatCode="_-* #\ ##0_-;\-* #\ ##0_-;_-* &quot;-&quot;??_-;_-@_-">
                  <c:v>15740</c:v>
                </c:pt>
                <c:pt idx="2359" formatCode="_-* #\ ##0_-;\-* #\ ##0_-;_-* &quot;-&quot;??_-;_-@_-">
                  <c:v>15770</c:v>
                </c:pt>
                <c:pt idx="2360" formatCode="_-* #\ ##0_-;\-* #\ ##0_-;_-* &quot;-&quot;??_-;_-@_-">
                  <c:v>15800</c:v>
                </c:pt>
                <c:pt idx="2361" formatCode="_-* #\ ##0_-;\-* #\ ##0_-;_-* &quot;-&quot;??_-;_-@_-">
                  <c:v>15830</c:v>
                </c:pt>
                <c:pt idx="2362" formatCode="_-* #\ ##0_-;\-* #\ ##0_-;_-* &quot;-&quot;??_-;_-@_-">
                  <c:v>15860</c:v>
                </c:pt>
                <c:pt idx="2363" formatCode="_-* #\ ##0_-;\-* #\ ##0_-;_-* &quot;-&quot;??_-;_-@_-">
                  <c:v>15890</c:v>
                </c:pt>
                <c:pt idx="2364" formatCode="_-* #\ ##0_-;\-* #\ ##0_-;_-* &quot;-&quot;??_-;_-@_-">
                  <c:v>15920</c:v>
                </c:pt>
                <c:pt idx="2365" formatCode="_-* #\ ##0_-;\-* #\ ##0_-;_-* &quot;-&quot;??_-;_-@_-">
                  <c:v>15950</c:v>
                </c:pt>
                <c:pt idx="2366" formatCode="_-* #\ ##0_-;\-* #\ ##0_-;_-* &quot;-&quot;??_-;_-@_-">
                  <c:v>15980</c:v>
                </c:pt>
                <c:pt idx="2367" formatCode="_-* #\ ##0_-;\-* #\ ##0_-;_-* &quot;-&quot;??_-;_-@_-">
                  <c:v>16010</c:v>
                </c:pt>
                <c:pt idx="2368" formatCode="_-* #\ ##0_-;\-* #\ ##0_-;_-* &quot;-&quot;??_-;_-@_-">
                  <c:v>16040</c:v>
                </c:pt>
                <c:pt idx="2369" formatCode="_-* #\ ##0_-;\-* #\ ##0_-;_-* &quot;-&quot;??_-;_-@_-">
                  <c:v>16070</c:v>
                </c:pt>
                <c:pt idx="2370" formatCode="_-* #\ ##0_-;\-* #\ ##0_-;_-* &quot;-&quot;??_-;_-@_-">
                  <c:v>16100</c:v>
                </c:pt>
                <c:pt idx="2371" formatCode="_-* #\ ##0_-;\-* #\ ##0_-;_-* &quot;-&quot;??_-;_-@_-">
                  <c:v>16130</c:v>
                </c:pt>
                <c:pt idx="2372" formatCode="_-* #\ ##0_-;\-* #\ ##0_-;_-* &quot;-&quot;??_-;_-@_-">
                  <c:v>16160</c:v>
                </c:pt>
                <c:pt idx="2373" formatCode="_-* #\ ##0_-;\-* #\ ##0_-;_-* &quot;-&quot;??_-;_-@_-">
                  <c:v>16190</c:v>
                </c:pt>
                <c:pt idx="2374" formatCode="_-* #\ ##0_-;\-* #\ ##0_-;_-* &quot;-&quot;??_-;_-@_-">
                  <c:v>16220</c:v>
                </c:pt>
                <c:pt idx="2375" formatCode="_-* #\ ##0_-;\-* #\ ##0_-;_-* &quot;-&quot;??_-;_-@_-">
                  <c:v>16250</c:v>
                </c:pt>
                <c:pt idx="2376" formatCode="_-* #\ ##0_-;\-* #\ ##0_-;_-* &quot;-&quot;??_-;_-@_-">
                  <c:v>16280</c:v>
                </c:pt>
                <c:pt idx="2377" formatCode="_-* #\ ##0_-;\-* #\ ##0_-;_-* &quot;-&quot;??_-;_-@_-">
                  <c:v>16310</c:v>
                </c:pt>
                <c:pt idx="2378" formatCode="_-* #\ ##0_-;\-* #\ ##0_-;_-* &quot;-&quot;??_-;_-@_-">
                  <c:v>16340</c:v>
                </c:pt>
                <c:pt idx="2379" formatCode="_-* #\ ##0_-;\-* #\ ##0_-;_-* &quot;-&quot;??_-;_-@_-">
                  <c:v>16370</c:v>
                </c:pt>
                <c:pt idx="2380" formatCode="_-* #\ ##0_-;\-* #\ ##0_-;_-* &quot;-&quot;??_-;_-@_-">
                  <c:v>16400</c:v>
                </c:pt>
                <c:pt idx="2381" formatCode="_-* #\ ##0_-;\-* #\ ##0_-;_-* &quot;-&quot;??_-;_-@_-">
                  <c:v>16430</c:v>
                </c:pt>
                <c:pt idx="2382" formatCode="_-* #\ ##0_-;\-* #\ ##0_-;_-* &quot;-&quot;??_-;_-@_-">
                  <c:v>16460</c:v>
                </c:pt>
                <c:pt idx="2383" formatCode="_-* #\ ##0_-;\-* #\ ##0_-;_-* &quot;-&quot;??_-;_-@_-">
                  <c:v>16490</c:v>
                </c:pt>
                <c:pt idx="2384" formatCode="_-* #\ ##0_-;\-* #\ ##0_-;_-* &quot;-&quot;??_-;_-@_-">
                  <c:v>16520</c:v>
                </c:pt>
                <c:pt idx="2385" formatCode="_-* #\ ##0_-;\-* #\ ##0_-;_-* &quot;-&quot;??_-;_-@_-">
                  <c:v>16550</c:v>
                </c:pt>
                <c:pt idx="2386" formatCode="_-* #\ ##0_-;\-* #\ ##0_-;_-* &quot;-&quot;??_-;_-@_-">
                  <c:v>16580</c:v>
                </c:pt>
                <c:pt idx="2387" formatCode="_-* #\ ##0_-;\-* #\ ##0_-;_-* &quot;-&quot;??_-;_-@_-">
                  <c:v>16610</c:v>
                </c:pt>
                <c:pt idx="2388" formatCode="_-* #\ ##0_-;\-* #\ ##0_-;_-* &quot;-&quot;??_-;_-@_-">
                  <c:v>16640</c:v>
                </c:pt>
                <c:pt idx="2389" formatCode="_-* #\ ##0_-;\-* #\ ##0_-;_-* &quot;-&quot;??_-;_-@_-">
                  <c:v>16670</c:v>
                </c:pt>
                <c:pt idx="2390" formatCode="_-* #\ ##0_-;\-* #\ ##0_-;_-* &quot;-&quot;??_-;_-@_-">
                  <c:v>16700</c:v>
                </c:pt>
                <c:pt idx="2391" formatCode="_-* #\ ##0_-;\-* #\ ##0_-;_-* &quot;-&quot;??_-;_-@_-">
                  <c:v>16730</c:v>
                </c:pt>
                <c:pt idx="2392" formatCode="_-* #\ ##0_-;\-* #\ ##0_-;_-* &quot;-&quot;??_-;_-@_-">
                  <c:v>16760</c:v>
                </c:pt>
                <c:pt idx="2393" formatCode="_-* #\ ##0_-;\-* #\ ##0_-;_-* &quot;-&quot;??_-;_-@_-">
                  <c:v>16790</c:v>
                </c:pt>
                <c:pt idx="2394" formatCode="_-* #\ ##0_-;\-* #\ ##0_-;_-* &quot;-&quot;??_-;_-@_-">
                  <c:v>16820</c:v>
                </c:pt>
                <c:pt idx="2395" formatCode="_-* #\ ##0_-;\-* #\ ##0_-;_-* &quot;-&quot;??_-;_-@_-">
                  <c:v>16850</c:v>
                </c:pt>
                <c:pt idx="2396" formatCode="_-* #\ ##0_-;\-* #\ ##0_-;_-* &quot;-&quot;??_-;_-@_-">
                  <c:v>16880</c:v>
                </c:pt>
                <c:pt idx="2397" formatCode="_-* #\ ##0_-;\-* #\ ##0_-;_-* &quot;-&quot;??_-;_-@_-">
                  <c:v>16910</c:v>
                </c:pt>
                <c:pt idx="2398" formatCode="_-* #\ ##0_-;\-* #\ ##0_-;_-* &quot;-&quot;??_-;_-@_-">
                  <c:v>16940</c:v>
                </c:pt>
                <c:pt idx="2399" formatCode="_-* #\ ##0_-;\-* #\ ##0_-;_-* &quot;-&quot;??_-;_-@_-">
                  <c:v>16970</c:v>
                </c:pt>
                <c:pt idx="2400" formatCode="_-* #\ ##0_-;\-* #\ ##0_-;_-* &quot;-&quot;??_-;_-@_-">
                  <c:v>17000</c:v>
                </c:pt>
              </c:numCache>
            </c:numRef>
          </c:val>
          <c:smooth val="0"/>
          <c:extLst>
            <c:ext xmlns:c16="http://schemas.microsoft.com/office/drawing/2014/chart" uri="{C3380CC4-5D6E-409C-BE32-E72D297353CC}">
              <c16:uniqueId val="{00000001-9927-4F4B-AD84-C53C69104B2B}"/>
            </c:ext>
          </c:extLst>
        </c:ser>
        <c:dLbls>
          <c:showLegendKey val="0"/>
          <c:showVal val="0"/>
          <c:showCatName val="0"/>
          <c:showSerName val="0"/>
          <c:showPercent val="0"/>
          <c:showBubbleSize val="0"/>
        </c:dLbls>
        <c:marker val="1"/>
        <c:smooth val="0"/>
        <c:axId val="1656102543"/>
        <c:axId val="1656099215"/>
      </c:lineChart>
      <c:lineChart>
        <c:grouping val="standard"/>
        <c:varyColors val="0"/>
        <c:ser>
          <c:idx val="5"/>
          <c:order val="2"/>
          <c:tx>
            <c:strRef>
              <c:f>'[Graphes_note_Evolutions_malus-1.xlsx]Données_graphe_MASSE'!$I$6</c:f>
              <c:strCache>
                <c:ptCount val="1"/>
                <c:pt idx="0">
                  <c:v>Immats 2024</c:v>
                </c:pt>
              </c:strCache>
            </c:strRef>
          </c:tx>
          <c:spPr>
            <a:ln w="28575" cap="rnd">
              <a:solidFill>
                <a:srgbClr val="255E91"/>
              </a:solidFill>
              <a:round/>
            </a:ln>
            <a:effectLst/>
          </c:spPr>
          <c:marker>
            <c:symbol val="none"/>
          </c:marker>
          <c:val>
            <c:numRef>
              <c:f>'[Graphes_note_Evolutions_malus-1.xlsx]Données_graphe_MASSE'!$I$7:$I$2406</c:f>
              <c:numCache>
                <c:formatCode>0%</c:formatCode>
                <c:ptCount val="2400"/>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0</c:v>
                </c:pt>
                <c:pt idx="353">
                  <c:v>0</c:v>
                </c:pt>
                <c:pt idx="354">
                  <c:v>0</c:v>
                </c:pt>
                <c:pt idx="355">
                  <c:v>0</c:v>
                </c:pt>
                <c:pt idx="356">
                  <c:v>0</c:v>
                </c:pt>
                <c:pt idx="357">
                  <c:v>0</c:v>
                </c:pt>
                <c:pt idx="358">
                  <c:v>0</c:v>
                </c:pt>
                <c:pt idx="359">
                  <c:v>0</c:v>
                </c:pt>
                <c:pt idx="360">
                  <c:v>0</c:v>
                </c:pt>
                <c:pt idx="361">
                  <c:v>0</c:v>
                </c:pt>
                <c:pt idx="362">
                  <c:v>0</c:v>
                </c:pt>
                <c:pt idx="363">
                  <c:v>0</c:v>
                </c:pt>
                <c:pt idx="364">
                  <c:v>0</c:v>
                </c:pt>
                <c:pt idx="365">
                  <c:v>0</c:v>
                </c:pt>
                <c:pt idx="366">
                  <c:v>0</c:v>
                </c:pt>
                <c:pt idx="367">
                  <c:v>0</c:v>
                </c:pt>
                <c:pt idx="368">
                  <c:v>0</c:v>
                </c:pt>
                <c:pt idx="369">
                  <c:v>0</c:v>
                </c:pt>
                <c:pt idx="370">
                  <c:v>0</c:v>
                </c:pt>
                <c:pt idx="371">
                  <c:v>0</c:v>
                </c:pt>
                <c:pt idx="372">
                  <c:v>0</c:v>
                </c:pt>
                <c:pt idx="373">
                  <c:v>0</c:v>
                </c:pt>
                <c:pt idx="374">
                  <c:v>0</c:v>
                </c:pt>
                <c:pt idx="375">
                  <c:v>0</c:v>
                </c:pt>
                <c:pt idx="376">
                  <c:v>0</c:v>
                </c:pt>
                <c:pt idx="377">
                  <c:v>0</c:v>
                </c:pt>
                <c:pt idx="378">
                  <c:v>0</c:v>
                </c:pt>
                <c:pt idx="379">
                  <c:v>0</c:v>
                </c:pt>
                <c:pt idx="380">
                  <c:v>0</c:v>
                </c:pt>
                <c:pt idx="381">
                  <c:v>0</c:v>
                </c:pt>
                <c:pt idx="382">
                  <c:v>0</c:v>
                </c:pt>
                <c:pt idx="383">
                  <c:v>0</c:v>
                </c:pt>
                <c:pt idx="384">
                  <c:v>0</c:v>
                </c:pt>
                <c:pt idx="385">
                  <c:v>0</c:v>
                </c:pt>
                <c:pt idx="386">
                  <c:v>0</c:v>
                </c:pt>
                <c:pt idx="387">
                  <c:v>0</c:v>
                </c:pt>
                <c:pt idx="388">
                  <c:v>0</c:v>
                </c:pt>
                <c:pt idx="389">
                  <c:v>0</c:v>
                </c:pt>
                <c:pt idx="390">
                  <c:v>0</c:v>
                </c:pt>
                <c:pt idx="391">
                  <c:v>0</c:v>
                </c:pt>
                <c:pt idx="392">
                  <c:v>0</c:v>
                </c:pt>
                <c:pt idx="393">
                  <c:v>0</c:v>
                </c:pt>
                <c:pt idx="394">
                  <c:v>0</c:v>
                </c:pt>
                <c:pt idx="395">
                  <c:v>0</c:v>
                </c:pt>
                <c:pt idx="396">
                  <c:v>0</c:v>
                </c:pt>
                <c:pt idx="397">
                  <c:v>0</c:v>
                </c:pt>
                <c:pt idx="398">
                  <c:v>0</c:v>
                </c:pt>
                <c:pt idx="399">
                  <c:v>0</c:v>
                </c:pt>
                <c:pt idx="400">
                  <c:v>0</c:v>
                </c:pt>
                <c:pt idx="401">
                  <c:v>0</c:v>
                </c:pt>
                <c:pt idx="402">
                  <c:v>0</c:v>
                </c:pt>
                <c:pt idx="403">
                  <c:v>0</c:v>
                </c:pt>
                <c:pt idx="404">
                  <c:v>0</c:v>
                </c:pt>
                <c:pt idx="405">
                  <c:v>0</c:v>
                </c:pt>
                <c:pt idx="406">
                  <c:v>0</c:v>
                </c:pt>
                <c:pt idx="407">
                  <c:v>0</c:v>
                </c:pt>
                <c:pt idx="408">
                  <c:v>0</c:v>
                </c:pt>
                <c:pt idx="409">
                  <c:v>0</c:v>
                </c:pt>
                <c:pt idx="410">
                  <c:v>0</c:v>
                </c:pt>
                <c:pt idx="411">
                  <c:v>0</c:v>
                </c:pt>
                <c:pt idx="412">
                  <c:v>0</c:v>
                </c:pt>
                <c:pt idx="413">
                  <c:v>0</c:v>
                </c:pt>
                <c:pt idx="414">
                  <c:v>0</c:v>
                </c:pt>
                <c:pt idx="415">
                  <c:v>0</c:v>
                </c:pt>
                <c:pt idx="416">
                  <c:v>0</c:v>
                </c:pt>
                <c:pt idx="417">
                  <c:v>0</c:v>
                </c:pt>
                <c:pt idx="418">
                  <c:v>0</c:v>
                </c:pt>
                <c:pt idx="419">
                  <c:v>0</c:v>
                </c:pt>
                <c:pt idx="420">
                  <c:v>0</c:v>
                </c:pt>
                <c:pt idx="421">
                  <c:v>0</c:v>
                </c:pt>
                <c:pt idx="422">
                  <c:v>0</c:v>
                </c:pt>
                <c:pt idx="423">
                  <c:v>0</c:v>
                </c:pt>
                <c:pt idx="424">
                  <c:v>0</c:v>
                </c:pt>
                <c:pt idx="425">
                  <c:v>0</c:v>
                </c:pt>
                <c:pt idx="426">
                  <c:v>0</c:v>
                </c:pt>
                <c:pt idx="427">
                  <c:v>0</c:v>
                </c:pt>
                <c:pt idx="428">
                  <c:v>0</c:v>
                </c:pt>
                <c:pt idx="429">
                  <c:v>0</c:v>
                </c:pt>
                <c:pt idx="430">
                  <c:v>0</c:v>
                </c:pt>
                <c:pt idx="431">
                  <c:v>0</c:v>
                </c:pt>
                <c:pt idx="432">
                  <c:v>0</c:v>
                </c:pt>
                <c:pt idx="433">
                  <c:v>0</c:v>
                </c:pt>
                <c:pt idx="434">
                  <c:v>0</c:v>
                </c:pt>
                <c:pt idx="435">
                  <c:v>0</c:v>
                </c:pt>
                <c:pt idx="436">
                  <c:v>0</c:v>
                </c:pt>
                <c:pt idx="437">
                  <c:v>0</c:v>
                </c:pt>
                <c:pt idx="438">
                  <c:v>0</c:v>
                </c:pt>
                <c:pt idx="439">
                  <c:v>0</c:v>
                </c:pt>
                <c:pt idx="440">
                  <c:v>0</c:v>
                </c:pt>
                <c:pt idx="441">
                  <c:v>0</c:v>
                </c:pt>
                <c:pt idx="442">
                  <c:v>0</c:v>
                </c:pt>
                <c:pt idx="443">
                  <c:v>0</c:v>
                </c:pt>
                <c:pt idx="444">
                  <c:v>0</c:v>
                </c:pt>
                <c:pt idx="445">
                  <c:v>0</c:v>
                </c:pt>
                <c:pt idx="446">
                  <c:v>0</c:v>
                </c:pt>
                <c:pt idx="447">
                  <c:v>0</c:v>
                </c:pt>
                <c:pt idx="448">
                  <c:v>0</c:v>
                </c:pt>
                <c:pt idx="449">
                  <c:v>0</c:v>
                </c:pt>
                <c:pt idx="450">
                  <c:v>0</c:v>
                </c:pt>
                <c:pt idx="451">
                  <c:v>0</c:v>
                </c:pt>
                <c:pt idx="452">
                  <c:v>0</c:v>
                </c:pt>
                <c:pt idx="453">
                  <c:v>0</c:v>
                </c:pt>
                <c:pt idx="454">
                  <c:v>0</c:v>
                </c:pt>
                <c:pt idx="455">
                  <c:v>0</c:v>
                </c:pt>
                <c:pt idx="456">
                  <c:v>0</c:v>
                </c:pt>
                <c:pt idx="457">
                  <c:v>0</c:v>
                </c:pt>
                <c:pt idx="458">
                  <c:v>0</c:v>
                </c:pt>
                <c:pt idx="459">
                  <c:v>0</c:v>
                </c:pt>
                <c:pt idx="460">
                  <c:v>0</c:v>
                </c:pt>
                <c:pt idx="461">
                  <c:v>0</c:v>
                </c:pt>
                <c:pt idx="462">
                  <c:v>0</c:v>
                </c:pt>
                <c:pt idx="463">
                  <c:v>0</c:v>
                </c:pt>
                <c:pt idx="464">
                  <c:v>0</c:v>
                </c:pt>
                <c:pt idx="465">
                  <c:v>0</c:v>
                </c:pt>
                <c:pt idx="466">
                  <c:v>0</c:v>
                </c:pt>
                <c:pt idx="467">
                  <c:v>0</c:v>
                </c:pt>
                <c:pt idx="468">
                  <c:v>0</c:v>
                </c:pt>
                <c:pt idx="469">
                  <c:v>0</c:v>
                </c:pt>
                <c:pt idx="470">
                  <c:v>0</c:v>
                </c:pt>
                <c:pt idx="471">
                  <c:v>0</c:v>
                </c:pt>
                <c:pt idx="472">
                  <c:v>0</c:v>
                </c:pt>
                <c:pt idx="473">
                  <c:v>0</c:v>
                </c:pt>
                <c:pt idx="474">
                  <c:v>0</c:v>
                </c:pt>
                <c:pt idx="475">
                  <c:v>0</c:v>
                </c:pt>
                <c:pt idx="476">
                  <c:v>0</c:v>
                </c:pt>
                <c:pt idx="477">
                  <c:v>0</c:v>
                </c:pt>
                <c:pt idx="478">
                  <c:v>0</c:v>
                </c:pt>
                <c:pt idx="479">
                  <c:v>0</c:v>
                </c:pt>
                <c:pt idx="480">
                  <c:v>0</c:v>
                </c:pt>
                <c:pt idx="481">
                  <c:v>0</c:v>
                </c:pt>
                <c:pt idx="482">
                  <c:v>0</c:v>
                </c:pt>
                <c:pt idx="483">
                  <c:v>0</c:v>
                </c:pt>
                <c:pt idx="484">
                  <c:v>0</c:v>
                </c:pt>
                <c:pt idx="485">
                  <c:v>0</c:v>
                </c:pt>
                <c:pt idx="486">
                  <c:v>0</c:v>
                </c:pt>
                <c:pt idx="487">
                  <c:v>0</c:v>
                </c:pt>
                <c:pt idx="488">
                  <c:v>0</c:v>
                </c:pt>
                <c:pt idx="489">
                  <c:v>0</c:v>
                </c:pt>
                <c:pt idx="490">
                  <c:v>0</c:v>
                </c:pt>
                <c:pt idx="491">
                  <c:v>0</c:v>
                </c:pt>
                <c:pt idx="492">
                  <c:v>0</c:v>
                </c:pt>
                <c:pt idx="493">
                  <c:v>0</c:v>
                </c:pt>
                <c:pt idx="494">
                  <c:v>0</c:v>
                </c:pt>
                <c:pt idx="495">
                  <c:v>0</c:v>
                </c:pt>
                <c:pt idx="496">
                  <c:v>0</c:v>
                </c:pt>
                <c:pt idx="497">
                  <c:v>0</c:v>
                </c:pt>
                <c:pt idx="498">
                  <c:v>0</c:v>
                </c:pt>
                <c:pt idx="499">
                  <c:v>0</c:v>
                </c:pt>
                <c:pt idx="500">
                  <c:v>1.1999808003071951E-5</c:v>
                </c:pt>
                <c:pt idx="501">
                  <c:v>1.1999808003071951E-5</c:v>
                </c:pt>
                <c:pt idx="502">
                  <c:v>1.1999808003071951E-5</c:v>
                </c:pt>
                <c:pt idx="503">
                  <c:v>1.1999808003071951E-5</c:v>
                </c:pt>
                <c:pt idx="504">
                  <c:v>1.1999808003071951E-5</c:v>
                </c:pt>
                <c:pt idx="505">
                  <c:v>1.1999808003071951E-5</c:v>
                </c:pt>
                <c:pt idx="506">
                  <c:v>1.1999808003071951E-5</c:v>
                </c:pt>
                <c:pt idx="507">
                  <c:v>1.1999808003071951E-5</c:v>
                </c:pt>
                <c:pt idx="508">
                  <c:v>1.1999808003071951E-5</c:v>
                </c:pt>
                <c:pt idx="509">
                  <c:v>1.1999808003071951E-5</c:v>
                </c:pt>
                <c:pt idx="510">
                  <c:v>1.1999808003071951E-5</c:v>
                </c:pt>
                <c:pt idx="511">
                  <c:v>1.1999808003071951E-5</c:v>
                </c:pt>
                <c:pt idx="512">
                  <c:v>1.1999808003071951E-5</c:v>
                </c:pt>
                <c:pt idx="513">
                  <c:v>1.1999808003071951E-5</c:v>
                </c:pt>
                <c:pt idx="514">
                  <c:v>1.1999808003071951E-5</c:v>
                </c:pt>
                <c:pt idx="515">
                  <c:v>1.1999808003071951E-5</c:v>
                </c:pt>
                <c:pt idx="516">
                  <c:v>1.1999808003071951E-5</c:v>
                </c:pt>
                <c:pt idx="517">
                  <c:v>1.1999808003071951E-5</c:v>
                </c:pt>
                <c:pt idx="518">
                  <c:v>1.1999808003071951E-5</c:v>
                </c:pt>
                <c:pt idx="519">
                  <c:v>1.1999808003071951E-5</c:v>
                </c:pt>
                <c:pt idx="520">
                  <c:v>1.1999808003071951E-5</c:v>
                </c:pt>
                <c:pt idx="521">
                  <c:v>1.1999808003071951E-5</c:v>
                </c:pt>
                <c:pt idx="522">
                  <c:v>1.1999808003071951E-5</c:v>
                </c:pt>
                <c:pt idx="523">
                  <c:v>1.1999808003071951E-5</c:v>
                </c:pt>
                <c:pt idx="524">
                  <c:v>1.1999808003071951E-5</c:v>
                </c:pt>
                <c:pt idx="525">
                  <c:v>1.1999808003071951E-5</c:v>
                </c:pt>
                <c:pt idx="526">
                  <c:v>1.1999808003071951E-5</c:v>
                </c:pt>
                <c:pt idx="527">
                  <c:v>1.1999808003071951E-5</c:v>
                </c:pt>
                <c:pt idx="528">
                  <c:v>1.1999808003071951E-5</c:v>
                </c:pt>
                <c:pt idx="529">
                  <c:v>1.1999808003071951E-5</c:v>
                </c:pt>
                <c:pt idx="530">
                  <c:v>1.1999808003071951E-5</c:v>
                </c:pt>
                <c:pt idx="531">
                  <c:v>1.1999808003071951E-5</c:v>
                </c:pt>
                <c:pt idx="532">
                  <c:v>1.1999808003071951E-5</c:v>
                </c:pt>
                <c:pt idx="533">
                  <c:v>1.1999808003071951E-5</c:v>
                </c:pt>
                <c:pt idx="534">
                  <c:v>1.1999808003071951E-5</c:v>
                </c:pt>
                <c:pt idx="535">
                  <c:v>1.1999808003071951E-5</c:v>
                </c:pt>
                <c:pt idx="536">
                  <c:v>1.1999808003071951E-5</c:v>
                </c:pt>
                <c:pt idx="537">
                  <c:v>1.1999808003071951E-5</c:v>
                </c:pt>
                <c:pt idx="538">
                  <c:v>1.1999808003071951E-5</c:v>
                </c:pt>
                <c:pt idx="539">
                  <c:v>1.1999808003071951E-5</c:v>
                </c:pt>
                <c:pt idx="540">
                  <c:v>1.1999808003071951E-5</c:v>
                </c:pt>
                <c:pt idx="541">
                  <c:v>1.1999808003071951E-5</c:v>
                </c:pt>
                <c:pt idx="542">
                  <c:v>1.1999808003071951E-5</c:v>
                </c:pt>
                <c:pt idx="543">
                  <c:v>1.1999808003071951E-5</c:v>
                </c:pt>
                <c:pt idx="544">
                  <c:v>1.1999808003071951E-5</c:v>
                </c:pt>
                <c:pt idx="545">
                  <c:v>1.1999808003071951E-5</c:v>
                </c:pt>
                <c:pt idx="546">
                  <c:v>1.1999808003071951E-5</c:v>
                </c:pt>
                <c:pt idx="547">
                  <c:v>1.1999808003071951E-5</c:v>
                </c:pt>
                <c:pt idx="548">
                  <c:v>1.1999808003071951E-5</c:v>
                </c:pt>
                <c:pt idx="549">
                  <c:v>1.1999808003071951E-5</c:v>
                </c:pt>
                <c:pt idx="550">
                  <c:v>1.1999808003071951E-5</c:v>
                </c:pt>
                <c:pt idx="551">
                  <c:v>1.1999808003071951E-5</c:v>
                </c:pt>
                <c:pt idx="552">
                  <c:v>1.1999808003071951E-5</c:v>
                </c:pt>
                <c:pt idx="553">
                  <c:v>1.1999808003071951E-5</c:v>
                </c:pt>
                <c:pt idx="554">
                  <c:v>1.1999808003071951E-5</c:v>
                </c:pt>
                <c:pt idx="555">
                  <c:v>1.1999808003071951E-5</c:v>
                </c:pt>
                <c:pt idx="556">
                  <c:v>1.1999808003071951E-5</c:v>
                </c:pt>
                <c:pt idx="557">
                  <c:v>1.1999808003071951E-5</c:v>
                </c:pt>
                <c:pt idx="558">
                  <c:v>1.1999808003071951E-5</c:v>
                </c:pt>
                <c:pt idx="559">
                  <c:v>1.1999808003071951E-5</c:v>
                </c:pt>
                <c:pt idx="560">
                  <c:v>1.1999808003071951E-5</c:v>
                </c:pt>
                <c:pt idx="561">
                  <c:v>1.1999808003071951E-5</c:v>
                </c:pt>
                <c:pt idx="562">
                  <c:v>1.1999808003071951E-5</c:v>
                </c:pt>
                <c:pt idx="563">
                  <c:v>1.1999808003071951E-5</c:v>
                </c:pt>
                <c:pt idx="564">
                  <c:v>1.1999808003071951E-5</c:v>
                </c:pt>
                <c:pt idx="565">
                  <c:v>1.1999808003071951E-5</c:v>
                </c:pt>
                <c:pt idx="566">
                  <c:v>1.1999808003071951E-5</c:v>
                </c:pt>
                <c:pt idx="567">
                  <c:v>1.1999808003071951E-5</c:v>
                </c:pt>
                <c:pt idx="568">
                  <c:v>1.1999808003071951E-5</c:v>
                </c:pt>
                <c:pt idx="569">
                  <c:v>1.1999808003071951E-5</c:v>
                </c:pt>
                <c:pt idx="570">
                  <c:v>1.1999808003071951E-5</c:v>
                </c:pt>
                <c:pt idx="571">
                  <c:v>1.1999808003071951E-5</c:v>
                </c:pt>
                <c:pt idx="572">
                  <c:v>1.1999808003071951E-5</c:v>
                </c:pt>
                <c:pt idx="573">
                  <c:v>1.1999808003071951E-5</c:v>
                </c:pt>
                <c:pt idx="574">
                  <c:v>1.1999808003071951E-5</c:v>
                </c:pt>
                <c:pt idx="575">
                  <c:v>1.1999808003071951E-5</c:v>
                </c:pt>
                <c:pt idx="576">
                  <c:v>1.1999808003071951E-5</c:v>
                </c:pt>
                <c:pt idx="577">
                  <c:v>1.1999808003071951E-5</c:v>
                </c:pt>
                <c:pt idx="578">
                  <c:v>1.1999808003071951E-5</c:v>
                </c:pt>
                <c:pt idx="579">
                  <c:v>1.1999808003071951E-5</c:v>
                </c:pt>
                <c:pt idx="580">
                  <c:v>1.1999808003071951E-5</c:v>
                </c:pt>
                <c:pt idx="581">
                  <c:v>1.1999808003071951E-5</c:v>
                </c:pt>
                <c:pt idx="582">
                  <c:v>1.1999808003071951E-5</c:v>
                </c:pt>
                <c:pt idx="583">
                  <c:v>1.1999808003071951E-5</c:v>
                </c:pt>
                <c:pt idx="584">
                  <c:v>1.1999808003071951E-5</c:v>
                </c:pt>
                <c:pt idx="585">
                  <c:v>1.1999808003071951E-5</c:v>
                </c:pt>
                <c:pt idx="586">
                  <c:v>1.1999808003071951E-5</c:v>
                </c:pt>
                <c:pt idx="587">
                  <c:v>1.1999808003071951E-5</c:v>
                </c:pt>
                <c:pt idx="588">
                  <c:v>1.1999808003071951E-5</c:v>
                </c:pt>
                <c:pt idx="589">
                  <c:v>1.1999808003071951E-5</c:v>
                </c:pt>
                <c:pt idx="590">
                  <c:v>1.1999808003071951E-5</c:v>
                </c:pt>
                <c:pt idx="591">
                  <c:v>1.1999808003071951E-5</c:v>
                </c:pt>
                <c:pt idx="592">
                  <c:v>1.1999808003071951E-5</c:v>
                </c:pt>
                <c:pt idx="593">
                  <c:v>1.1999808003071951E-5</c:v>
                </c:pt>
                <c:pt idx="594">
                  <c:v>1.1999808003071951E-5</c:v>
                </c:pt>
                <c:pt idx="595">
                  <c:v>1.1999808003071951E-5</c:v>
                </c:pt>
                <c:pt idx="596">
                  <c:v>1.1999808003071951E-5</c:v>
                </c:pt>
                <c:pt idx="597">
                  <c:v>1.1999808003071951E-5</c:v>
                </c:pt>
                <c:pt idx="598">
                  <c:v>1.1999808003071951E-5</c:v>
                </c:pt>
                <c:pt idx="599">
                  <c:v>1.1999808003071951E-5</c:v>
                </c:pt>
                <c:pt idx="600">
                  <c:v>3.5999424009215853E-5</c:v>
                </c:pt>
                <c:pt idx="601">
                  <c:v>3.5999424009215853E-5</c:v>
                </c:pt>
                <c:pt idx="602">
                  <c:v>3.5999424009215853E-5</c:v>
                </c:pt>
                <c:pt idx="603">
                  <c:v>3.5999424009215853E-5</c:v>
                </c:pt>
                <c:pt idx="604">
                  <c:v>3.5999424009215853E-5</c:v>
                </c:pt>
                <c:pt idx="605">
                  <c:v>3.5999424009215853E-5</c:v>
                </c:pt>
                <c:pt idx="606">
                  <c:v>3.5999424009215853E-5</c:v>
                </c:pt>
                <c:pt idx="607">
                  <c:v>3.5999424009215853E-5</c:v>
                </c:pt>
                <c:pt idx="608">
                  <c:v>3.5999424009215853E-5</c:v>
                </c:pt>
                <c:pt idx="609">
                  <c:v>3.5999424009215853E-5</c:v>
                </c:pt>
                <c:pt idx="610">
                  <c:v>3.5999424009215853E-5</c:v>
                </c:pt>
                <c:pt idx="611">
                  <c:v>3.5999424009215853E-5</c:v>
                </c:pt>
                <c:pt idx="612">
                  <c:v>3.5999424009215853E-5</c:v>
                </c:pt>
                <c:pt idx="613">
                  <c:v>3.5999424009215853E-5</c:v>
                </c:pt>
                <c:pt idx="614">
                  <c:v>3.5999424009215853E-5</c:v>
                </c:pt>
                <c:pt idx="615">
                  <c:v>3.5999424009215853E-5</c:v>
                </c:pt>
                <c:pt idx="616">
                  <c:v>3.5999424009215853E-5</c:v>
                </c:pt>
                <c:pt idx="617">
                  <c:v>3.5999424009215853E-5</c:v>
                </c:pt>
                <c:pt idx="618">
                  <c:v>3.5999424009215853E-5</c:v>
                </c:pt>
                <c:pt idx="619">
                  <c:v>3.5999424009215853E-5</c:v>
                </c:pt>
                <c:pt idx="620">
                  <c:v>3.5999424009215853E-5</c:v>
                </c:pt>
                <c:pt idx="621">
                  <c:v>3.5999424009215853E-5</c:v>
                </c:pt>
                <c:pt idx="622">
                  <c:v>3.5999424009215853E-5</c:v>
                </c:pt>
                <c:pt idx="623">
                  <c:v>3.5999424009215853E-5</c:v>
                </c:pt>
                <c:pt idx="624">
                  <c:v>3.5999424009215853E-5</c:v>
                </c:pt>
                <c:pt idx="625">
                  <c:v>3.5999424009215853E-5</c:v>
                </c:pt>
                <c:pt idx="626">
                  <c:v>3.5999424009215853E-5</c:v>
                </c:pt>
                <c:pt idx="627">
                  <c:v>3.5999424009215853E-5</c:v>
                </c:pt>
                <c:pt idx="628">
                  <c:v>3.5999424009215853E-5</c:v>
                </c:pt>
                <c:pt idx="629">
                  <c:v>3.5999424009215853E-5</c:v>
                </c:pt>
                <c:pt idx="630">
                  <c:v>3.5999424009215853E-5</c:v>
                </c:pt>
                <c:pt idx="631">
                  <c:v>3.5999424009215853E-5</c:v>
                </c:pt>
                <c:pt idx="632">
                  <c:v>3.5999424009215853E-5</c:v>
                </c:pt>
                <c:pt idx="633">
                  <c:v>3.5999424009215853E-5</c:v>
                </c:pt>
                <c:pt idx="634">
                  <c:v>3.5999424009215853E-5</c:v>
                </c:pt>
                <c:pt idx="635">
                  <c:v>3.5999424009215853E-5</c:v>
                </c:pt>
                <c:pt idx="636">
                  <c:v>3.5999424009215853E-5</c:v>
                </c:pt>
                <c:pt idx="637">
                  <c:v>3.5999424009215853E-5</c:v>
                </c:pt>
                <c:pt idx="638">
                  <c:v>3.5999424009215853E-5</c:v>
                </c:pt>
                <c:pt idx="639">
                  <c:v>3.5999424009215853E-5</c:v>
                </c:pt>
                <c:pt idx="640">
                  <c:v>3.5999424009215853E-5</c:v>
                </c:pt>
                <c:pt idx="641">
                  <c:v>3.5999424009215853E-5</c:v>
                </c:pt>
                <c:pt idx="642">
                  <c:v>3.5999424009215853E-5</c:v>
                </c:pt>
                <c:pt idx="643">
                  <c:v>3.5999424009215853E-5</c:v>
                </c:pt>
                <c:pt idx="644">
                  <c:v>3.5999424009215853E-5</c:v>
                </c:pt>
                <c:pt idx="645">
                  <c:v>3.5999424009215853E-5</c:v>
                </c:pt>
                <c:pt idx="646">
                  <c:v>3.5999424009215853E-5</c:v>
                </c:pt>
                <c:pt idx="647">
                  <c:v>3.5999424009215853E-5</c:v>
                </c:pt>
                <c:pt idx="648">
                  <c:v>3.5999424009215853E-5</c:v>
                </c:pt>
                <c:pt idx="649">
                  <c:v>3.5999424009215853E-5</c:v>
                </c:pt>
                <c:pt idx="650">
                  <c:v>3.5999424009215853E-5</c:v>
                </c:pt>
                <c:pt idx="651">
                  <c:v>3.5999424009215853E-5</c:v>
                </c:pt>
                <c:pt idx="652">
                  <c:v>3.5999424009215853E-5</c:v>
                </c:pt>
                <c:pt idx="653">
                  <c:v>3.5999424009215853E-5</c:v>
                </c:pt>
                <c:pt idx="654">
                  <c:v>3.5999424009215853E-5</c:v>
                </c:pt>
                <c:pt idx="655">
                  <c:v>3.5999424009215853E-5</c:v>
                </c:pt>
                <c:pt idx="656">
                  <c:v>3.5999424009215853E-5</c:v>
                </c:pt>
                <c:pt idx="657">
                  <c:v>3.5999424009215853E-5</c:v>
                </c:pt>
                <c:pt idx="658">
                  <c:v>3.5999424009215853E-5</c:v>
                </c:pt>
                <c:pt idx="659">
                  <c:v>3.5999424009215853E-5</c:v>
                </c:pt>
                <c:pt idx="660">
                  <c:v>3.5999424009215853E-5</c:v>
                </c:pt>
                <c:pt idx="661">
                  <c:v>3.5999424009215853E-5</c:v>
                </c:pt>
                <c:pt idx="662">
                  <c:v>3.5999424009215853E-5</c:v>
                </c:pt>
                <c:pt idx="663">
                  <c:v>3.5999424009215853E-5</c:v>
                </c:pt>
                <c:pt idx="664">
                  <c:v>3.5999424009215853E-5</c:v>
                </c:pt>
                <c:pt idx="665">
                  <c:v>3.5999424009215853E-5</c:v>
                </c:pt>
                <c:pt idx="666">
                  <c:v>3.5999424009215853E-5</c:v>
                </c:pt>
                <c:pt idx="667">
                  <c:v>3.5999424009215853E-5</c:v>
                </c:pt>
                <c:pt idx="668">
                  <c:v>3.5999424009215853E-5</c:v>
                </c:pt>
                <c:pt idx="669">
                  <c:v>3.5999424009215853E-5</c:v>
                </c:pt>
                <c:pt idx="670">
                  <c:v>3.5999424009215853E-5</c:v>
                </c:pt>
                <c:pt idx="671">
                  <c:v>3.5999424009215853E-5</c:v>
                </c:pt>
                <c:pt idx="672">
                  <c:v>3.5999424009215853E-5</c:v>
                </c:pt>
                <c:pt idx="673">
                  <c:v>3.5999424009215853E-5</c:v>
                </c:pt>
                <c:pt idx="674">
                  <c:v>3.5999424009215853E-5</c:v>
                </c:pt>
                <c:pt idx="675">
                  <c:v>3.5999424009215853E-5</c:v>
                </c:pt>
                <c:pt idx="676">
                  <c:v>3.5999424009215853E-5</c:v>
                </c:pt>
                <c:pt idx="677">
                  <c:v>3.5999424009215853E-5</c:v>
                </c:pt>
                <c:pt idx="678">
                  <c:v>3.5999424009215853E-5</c:v>
                </c:pt>
                <c:pt idx="679">
                  <c:v>3.5999424009215853E-5</c:v>
                </c:pt>
                <c:pt idx="680">
                  <c:v>3.5999424009215853E-5</c:v>
                </c:pt>
                <c:pt idx="681">
                  <c:v>3.5999424009215853E-5</c:v>
                </c:pt>
                <c:pt idx="682">
                  <c:v>3.5999424009215853E-5</c:v>
                </c:pt>
                <c:pt idx="683">
                  <c:v>3.5999424009215853E-5</c:v>
                </c:pt>
                <c:pt idx="684">
                  <c:v>3.5999424009215853E-5</c:v>
                </c:pt>
                <c:pt idx="685">
                  <c:v>3.5999424009215853E-5</c:v>
                </c:pt>
                <c:pt idx="686">
                  <c:v>3.5999424009215853E-5</c:v>
                </c:pt>
                <c:pt idx="687">
                  <c:v>3.5999424009215853E-5</c:v>
                </c:pt>
                <c:pt idx="688">
                  <c:v>3.5999424009215853E-5</c:v>
                </c:pt>
                <c:pt idx="689">
                  <c:v>3.5999424009215853E-5</c:v>
                </c:pt>
                <c:pt idx="690">
                  <c:v>3.5999424009215853E-5</c:v>
                </c:pt>
                <c:pt idx="691">
                  <c:v>3.5999424009215853E-5</c:v>
                </c:pt>
                <c:pt idx="692">
                  <c:v>3.5999424009215853E-5</c:v>
                </c:pt>
                <c:pt idx="693">
                  <c:v>3.5999424009215853E-5</c:v>
                </c:pt>
                <c:pt idx="694">
                  <c:v>3.5999424009215853E-5</c:v>
                </c:pt>
                <c:pt idx="695">
                  <c:v>3.5999424009215853E-5</c:v>
                </c:pt>
                <c:pt idx="696">
                  <c:v>3.5999424009215853E-5</c:v>
                </c:pt>
                <c:pt idx="697">
                  <c:v>3.5999424009215853E-5</c:v>
                </c:pt>
                <c:pt idx="698">
                  <c:v>3.5999424009215853E-5</c:v>
                </c:pt>
                <c:pt idx="699">
                  <c:v>3.5999424009215853E-5</c:v>
                </c:pt>
                <c:pt idx="700">
                  <c:v>1.9999680005119917E-4</c:v>
                </c:pt>
                <c:pt idx="701">
                  <c:v>1.9999680005119917E-4</c:v>
                </c:pt>
                <c:pt idx="702">
                  <c:v>1.9999680005119917E-4</c:v>
                </c:pt>
                <c:pt idx="703">
                  <c:v>1.9999680005119917E-4</c:v>
                </c:pt>
                <c:pt idx="704">
                  <c:v>1.9999680005119917E-4</c:v>
                </c:pt>
                <c:pt idx="705">
                  <c:v>1.9999680005119917E-4</c:v>
                </c:pt>
                <c:pt idx="706">
                  <c:v>1.9999680005119917E-4</c:v>
                </c:pt>
                <c:pt idx="707">
                  <c:v>1.9999680005119917E-4</c:v>
                </c:pt>
                <c:pt idx="708">
                  <c:v>1.9999680005119917E-4</c:v>
                </c:pt>
                <c:pt idx="709">
                  <c:v>1.9999680005119917E-4</c:v>
                </c:pt>
                <c:pt idx="710">
                  <c:v>1.9999680005119917E-4</c:v>
                </c:pt>
                <c:pt idx="711">
                  <c:v>1.9999680005119917E-4</c:v>
                </c:pt>
                <c:pt idx="712">
                  <c:v>1.9999680005119917E-4</c:v>
                </c:pt>
                <c:pt idx="713">
                  <c:v>1.9999680005119917E-4</c:v>
                </c:pt>
                <c:pt idx="714">
                  <c:v>1.9999680005119917E-4</c:v>
                </c:pt>
                <c:pt idx="715">
                  <c:v>1.9999680005119917E-4</c:v>
                </c:pt>
                <c:pt idx="716">
                  <c:v>1.9999680005119917E-4</c:v>
                </c:pt>
                <c:pt idx="717">
                  <c:v>1.9999680005119917E-4</c:v>
                </c:pt>
                <c:pt idx="718">
                  <c:v>1.9999680005119917E-4</c:v>
                </c:pt>
                <c:pt idx="719">
                  <c:v>1.9999680005119917E-4</c:v>
                </c:pt>
                <c:pt idx="720">
                  <c:v>1.9999680005119917E-4</c:v>
                </c:pt>
                <c:pt idx="721">
                  <c:v>1.9999680005119917E-4</c:v>
                </c:pt>
                <c:pt idx="722">
                  <c:v>1.9999680005119917E-4</c:v>
                </c:pt>
                <c:pt idx="723">
                  <c:v>1.9999680005119917E-4</c:v>
                </c:pt>
                <c:pt idx="724">
                  <c:v>1.9999680005119917E-4</c:v>
                </c:pt>
                <c:pt idx="725">
                  <c:v>1.9999680005119917E-4</c:v>
                </c:pt>
                <c:pt idx="726">
                  <c:v>1.9999680005119917E-4</c:v>
                </c:pt>
                <c:pt idx="727">
                  <c:v>1.9999680005119917E-4</c:v>
                </c:pt>
                <c:pt idx="728">
                  <c:v>1.9999680005119917E-4</c:v>
                </c:pt>
                <c:pt idx="729">
                  <c:v>1.9999680005119917E-4</c:v>
                </c:pt>
                <c:pt idx="730">
                  <c:v>1.9999680005119917E-4</c:v>
                </c:pt>
                <c:pt idx="731">
                  <c:v>1.9999680005119917E-4</c:v>
                </c:pt>
                <c:pt idx="732">
                  <c:v>1.9999680005119917E-4</c:v>
                </c:pt>
                <c:pt idx="733">
                  <c:v>1.9999680005119917E-4</c:v>
                </c:pt>
                <c:pt idx="734">
                  <c:v>1.9999680005119917E-4</c:v>
                </c:pt>
                <c:pt idx="735">
                  <c:v>1.9999680005119917E-4</c:v>
                </c:pt>
                <c:pt idx="736">
                  <c:v>1.9999680005119917E-4</c:v>
                </c:pt>
                <c:pt idx="737">
                  <c:v>1.9999680005119917E-4</c:v>
                </c:pt>
                <c:pt idx="738">
                  <c:v>1.9999680005119917E-4</c:v>
                </c:pt>
                <c:pt idx="739">
                  <c:v>1.9999680005119917E-4</c:v>
                </c:pt>
                <c:pt idx="740">
                  <c:v>1.9999680005119917E-4</c:v>
                </c:pt>
                <c:pt idx="741">
                  <c:v>1.9999680005119917E-4</c:v>
                </c:pt>
                <c:pt idx="742">
                  <c:v>1.9999680005119917E-4</c:v>
                </c:pt>
                <c:pt idx="743">
                  <c:v>1.9999680005119917E-4</c:v>
                </c:pt>
                <c:pt idx="744">
                  <c:v>1.9999680005119917E-4</c:v>
                </c:pt>
                <c:pt idx="745">
                  <c:v>1.9999680005119917E-4</c:v>
                </c:pt>
                <c:pt idx="746">
                  <c:v>1.9999680005119917E-4</c:v>
                </c:pt>
                <c:pt idx="747">
                  <c:v>1.9999680005119917E-4</c:v>
                </c:pt>
                <c:pt idx="748">
                  <c:v>1.9999680005119917E-4</c:v>
                </c:pt>
                <c:pt idx="749">
                  <c:v>1.9999680005119917E-4</c:v>
                </c:pt>
                <c:pt idx="750">
                  <c:v>1.9999680005119917E-4</c:v>
                </c:pt>
                <c:pt idx="751">
                  <c:v>1.9999680005119917E-4</c:v>
                </c:pt>
                <c:pt idx="752">
                  <c:v>1.9999680005119917E-4</c:v>
                </c:pt>
                <c:pt idx="753">
                  <c:v>1.9999680005119917E-4</c:v>
                </c:pt>
                <c:pt idx="754">
                  <c:v>1.9999680005119917E-4</c:v>
                </c:pt>
                <c:pt idx="755">
                  <c:v>1.9999680005119917E-4</c:v>
                </c:pt>
                <c:pt idx="756">
                  <c:v>1.9999680005119917E-4</c:v>
                </c:pt>
                <c:pt idx="757">
                  <c:v>1.9999680005119917E-4</c:v>
                </c:pt>
                <c:pt idx="758">
                  <c:v>1.9999680005119917E-4</c:v>
                </c:pt>
                <c:pt idx="759">
                  <c:v>1.9999680005119917E-4</c:v>
                </c:pt>
                <c:pt idx="760">
                  <c:v>1.9999680005119917E-4</c:v>
                </c:pt>
                <c:pt idx="761">
                  <c:v>1.9999680005119917E-4</c:v>
                </c:pt>
                <c:pt idx="762">
                  <c:v>1.9999680005119917E-4</c:v>
                </c:pt>
                <c:pt idx="763">
                  <c:v>1.9999680005119917E-4</c:v>
                </c:pt>
                <c:pt idx="764">
                  <c:v>1.9999680005119917E-4</c:v>
                </c:pt>
                <c:pt idx="765">
                  <c:v>1.9999680005119917E-4</c:v>
                </c:pt>
                <c:pt idx="766">
                  <c:v>1.9999680005119917E-4</c:v>
                </c:pt>
                <c:pt idx="767">
                  <c:v>1.9999680005119917E-4</c:v>
                </c:pt>
                <c:pt idx="768">
                  <c:v>1.9999680005119917E-4</c:v>
                </c:pt>
                <c:pt idx="769">
                  <c:v>1.9999680005119917E-4</c:v>
                </c:pt>
                <c:pt idx="770">
                  <c:v>1.9999680005119917E-4</c:v>
                </c:pt>
                <c:pt idx="771">
                  <c:v>1.9999680005119917E-4</c:v>
                </c:pt>
                <c:pt idx="772">
                  <c:v>1.9999680005119917E-4</c:v>
                </c:pt>
                <c:pt idx="773">
                  <c:v>1.9999680005119917E-4</c:v>
                </c:pt>
                <c:pt idx="774">
                  <c:v>1.9999680005119917E-4</c:v>
                </c:pt>
                <c:pt idx="775">
                  <c:v>1.9999680005119917E-4</c:v>
                </c:pt>
                <c:pt idx="776">
                  <c:v>1.9999680005119917E-4</c:v>
                </c:pt>
                <c:pt idx="777">
                  <c:v>1.9999680005119917E-4</c:v>
                </c:pt>
                <c:pt idx="778">
                  <c:v>1.9999680005119917E-4</c:v>
                </c:pt>
                <c:pt idx="779">
                  <c:v>1.9999680005119917E-4</c:v>
                </c:pt>
                <c:pt idx="780">
                  <c:v>1.9999680005119917E-4</c:v>
                </c:pt>
                <c:pt idx="781">
                  <c:v>1.9999680005119917E-4</c:v>
                </c:pt>
                <c:pt idx="782">
                  <c:v>1.9999680005119917E-4</c:v>
                </c:pt>
                <c:pt idx="783">
                  <c:v>1.9999680005119917E-4</c:v>
                </c:pt>
                <c:pt idx="784">
                  <c:v>1.9999680005119917E-4</c:v>
                </c:pt>
                <c:pt idx="785">
                  <c:v>1.9999680005119917E-4</c:v>
                </c:pt>
                <c:pt idx="786">
                  <c:v>1.9999680005119917E-4</c:v>
                </c:pt>
                <c:pt idx="787">
                  <c:v>1.9999680005119917E-4</c:v>
                </c:pt>
                <c:pt idx="788">
                  <c:v>1.9999680005119917E-4</c:v>
                </c:pt>
                <c:pt idx="789">
                  <c:v>1.9999680005119917E-4</c:v>
                </c:pt>
                <c:pt idx="790">
                  <c:v>1.9999680005119917E-4</c:v>
                </c:pt>
                <c:pt idx="791">
                  <c:v>1.9999680005119917E-4</c:v>
                </c:pt>
                <c:pt idx="792">
                  <c:v>1.9999680005119917E-4</c:v>
                </c:pt>
                <c:pt idx="793">
                  <c:v>1.9999680005119917E-4</c:v>
                </c:pt>
                <c:pt idx="794">
                  <c:v>1.9999680005119917E-4</c:v>
                </c:pt>
                <c:pt idx="795">
                  <c:v>1.9999680005119917E-4</c:v>
                </c:pt>
                <c:pt idx="796">
                  <c:v>1.9999680005119917E-4</c:v>
                </c:pt>
                <c:pt idx="797">
                  <c:v>1.9999680005119917E-4</c:v>
                </c:pt>
                <c:pt idx="798">
                  <c:v>1.9999680005119917E-4</c:v>
                </c:pt>
                <c:pt idx="799">
                  <c:v>1.9999680005119917E-4</c:v>
                </c:pt>
                <c:pt idx="800">
                  <c:v>2.3999616006143903E-5</c:v>
                </c:pt>
                <c:pt idx="801">
                  <c:v>2.3999616006143903E-5</c:v>
                </c:pt>
                <c:pt idx="802">
                  <c:v>2.3999616006143903E-5</c:v>
                </c:pt>
                <c:pt idx="803">
                  <c:v>2.3999616006143903E-5</c:v>
                </c:pt>
                <c:pt idx="804">
                  <c:v>2.3999616006143903E-5</c:v>
                </c:pt>
                <c:pt idx="805">
                  <c:v>2.3999616006143903E-5</c:v>
                </c:pt>
                <c:pt idx="806">
                  <c:v>2.3999616006143903E-5</c:v>
                </c:pt>
                <c:pt idx="807">
                  <c:v>2.3999616006143903E-5</c:v>
                </c:pt>
                <c:pt idx="808">
                  <c:v>2.3999616006143903E-5</c:v>
                </c:pt>
                <c:pt idx="809">
                  <c:v>2.3999616006143903E-5</c:v>
                </c:pt>
                <c:pt idx="810">
                  <c:v>2.3999616006143903E-5</c:v>
                </c:pt>
                <c:pt idx="811">
                  <c:v>2.3999616006143903E-5</c:v>
                </c:pt>
                <c:pt idx="812">
                  <c:v>2.3999616006143903E-5</c:v>
                </c:pt>
                <c:pt idx="813">
                  <c:v>2.3999616006143903E-5</c:v>
                </c:pt>
                <c:pt idx="814">
                  <c:v>2.3999616006143903E-5</c:v>
                </c:pt>
                <c:pt idx="815">
                  <c:v>2.3999616006143903E-5</c:v>
                </c:pt>
                <c:pt idx="816">
                  <c:v>2.3999616006143903E-5</c:v>
                </c:pt>
                <c:pt idx="817">
                  <c:v>2.3999616006143903E-5</c:v>
                </c:pt>
                <c:pt idx="818">
                  <c:v>2.3999616006143903E-5</c:v>
                </c:pt>
                <c:pt idx="819">
                  <c:v>2.3999616006143903E-5</c:v>
                </c:pt>
                <c:pt idx="820">
                  <c:v>2.3999616006143903E-5</c:v>
                </c:pt>
                <c:pt idx="821">
                  <c:v>2.3999616006143903E-5</c:v>
                </c:pt>
                <c:pt idx="822">
                  <c:v>2.3999616006143903E-5</c:v>
                </c:pt>
                <c:pt idx="823">
                  <c:v>2.3999616006143903E-5</c:v>
                </c:pt>
                <c:pt idx="824">
                  <c:v>2.3999616006143903E-5</c:v>
                </c:pt>
                <c:pt idx="825">
                  <c:v>2.3999616006143903E-5</c:v>
                </c:pt>
                <c:pt idx="826">
                  <c:v>2.3999616006143903E-5</c:v>
                </c:pt>
                <c:pt idx="827">
                  <c:v>2.3999616006143903E-5</c:v>
                </c:pt>
                <c:pt idx="828">
                  <c:v>2.3999616006143903E-5</c:v>
                </c:pt>
                <c:pt idx="829">
                  <c:v>2.3999616006143903E-5</c:v>
                </c:pt>
                <c:pt idx="830">
                  <c:v>2.3999616006143903E-5</c:v>
                </c:pt>
                <c:pt idx="831">
                  <c:v>2.3999616006143903E-5</c:v>
                </c:pt>
                <c:pt idx="832">
                  <c:v>2.3999616006143903E-5</c:v>
                </c:pt>
                <c:pt idx="833">
                  <c:v>2.3999616006143903E-5</c:v>
                </c:pt>
                <c:pt idx="834">
                  <c:v>2.3999616006143903E-5</c:v>
                </c:pt>
                <c:pt idx="835">
                  <c:v>2.3999616006143903E-5</c:v>
                </c:pt>
                <c:pt idx="836">
                  <c:v>2.3999616006143903E-5</c:v>
                </c:pt>
                <c:pt idx="837">
                  <c:v>2.3999616006143903E-5</c:v>
                </c:pt>
                <c:pt idx="838">
                  <c:v>2.3999616006143903E-5</c:v>
                </c:pt>
                <c:pt idx="839">
                  <c:v>2.3999616006143903E-5</c:v>
                </c:pt>
                <c:pt idx="840">
                  <c:v>2.3999616006143903E-5</c:v>
                </c:pt>
                <c:pt idx="841">
                  <c:v>2.3999616006143903E-5</c:v>
                </c:pt>
                <c:pt idx="842">
                  <c:v>2.3999616006143903E-5</c:v>
                </c:pt>
                <c:pt idx="843">
                  <c:v>2.3999616006143903E-5</c:v>
                </c:pt>
                <c:pt idx="844">
                  <c:v>2.3999616006143903E-5</c:v>
                </c:pt>
                <c:pt idx="845">
                  <c:v>2.3999616006143903E-5</c:v>
                </c:pt>
                <c:pt idx="846">
                  <c:v>2.3999616006143903E-5</c:v>
                </c:pt>
                <c:pt idx="847">
                  <c:v>2.3999616006143903E-5</c:v>
                </c:pt>
                <c:pt idx="848">
                  <c:v>2.3999616006143903E-5</c:v>
                </c:pt>
                <c:pt idx="849">
                  <c:v>2.3999616006143903E-5</c:v>
                </c:pt>
                <c:pt idx="850">
                  <c:v>2.3999616006143903E-5</c:v>
                </c:pt>
                <c:pt idx="851">
                  <c:v>2.3999616006143903E-5</c:v>
                </c:pt>
                <c:pt idx="852">
                  <c:v>2.3999616006143903E-5</c:v>
                </c:pt>
                <c:pt idx="853">
                  <c:v>2.3999616006143903E-5</c:v>
                </c:pt>
                <c:pt idx="854">
                  <c:v>2.3999616006143903E-5</c:v>
                </c:pt>
                <c:pt idx="855">
                  <c:v>2.3999616006143903E-5</c:v>
                </c:pt>
                <c:pt idx="856">
                  <c:v>2.3999616006143903E-5</c:v>
                </c:pt>
                <c:pt idx="857">
                  <c:v>2.3999616006143903E-5</c:v>
                </c:pt>
                <c:pt idx="858">
                  <c:v>2.3999616006143903E-5</c:v>
                </c:pt>
                <c:pt idx="859">
                  <c:v>2.3999616006143903E-5</c:v>
                </c:pt>
                <c:pt idx="860">
                  <c:v>2.3999616006143903E-5</c:v>
                </c:pt>
                <c:pt idx="861">
                  <c:v>2.3999616006143903E-5</c:v>
                </c:pt>
                <c:pt idx="862">
                  <c:v>2.3999616006143903E-5</c:v>
                </c:pt>
                <c:pt idx="863">
                  <c:v>2.3999616006143903E-5</c:v>
                </c:pt>
                <c:pt idx="864">
                  <c:v>2.3999616006143903E-5</c:v>
                </c:pt>
                <c:pt idx="865">
                  <c:v>2.3999616006143903E-5</c:v>
                </c:pt>
                <c:pt idx="866">
                  <c:v>2.3999616006143903E-5</c:v>
                </c:pt>
                <c:pt idx="867">
                  <c:v>2.3999616006143903E-5</c:v>
                </c:pt>
                <c:pt idx="868">
                  <c:v>2.3999616006143903E-5</c:v>
                </c:pt>
                <c:pt idx="869">
                  <c:v>2.3999616006143903E-5</c:v>
                </c:pt>
                <c:pt idx="870">
                  <c:v>2.3999616006143903E-5</c:v>
                </c:pt>
                <c:pt idx="871">
                  <c:v>2.3999616006143903E-5</c:v>
                </c:pt>
                <c:pt idx="872">
                  <c:v>2.3999616006143903E-5</c:v>
                </c:pt>
                <c:pt idx="873">
                  <c:v>2.3999616006143903E-5</c:v>
                </c:pt>
                <c:pt idx="874">
                  <c:v>2.3999616006143903E-5</c:v>
                </c:pt>
                <c:pt idx="875">
                  <c:v>2.3999616006143903E-5</c:v>
                </c:pt>
                <c:pt idx="876">
                  <c:v>2.3999616006143903E-5</c:v>
                </c:pt>
                <c:pt idx="877">
                  <c:v>2.3999616006143903E-5</c:v>
                </c:pt>
                <c:pt idx="878">
                  <c:v>2.3999616006143903E-5</c:v>
                </c:pt>
                <c:pt idx="879">
                  <c:v>2.3999616006143903E-5</c:v>
                </c:pt>
                <c:pt idx="880">
                  <c:v>2.3999616006143903E-5</c:v>
                </c:pt>
                <c:pt idx="881">
                  <c:v>2.3999616006143903E-5</c:v>
                </c:pt>
                <c:pt idx="882">
                  <c:v>2.3999616006143903E-5</c:v>
                </c:pt>
                <c:pt idx="883">
                  <c:v>2.3999616006143903E-5</c:v>
                </c:pt>
                <c:pt idx="884">
                  <c:v>2.3999616006143903E-5</c:v>
                </c:pt>
                <c:pt idx="885">
                  <c:v>2.3999616006143903E-5</c:v>
                </c:pt>
                <c:pt idx="886">
                  <c:v>2.3999616006143903E-5</c:v>
                </c:pt>
                <c:pt idx="887">
                  <c:v>2.3999616006143903E-5</c:v>
                </c:pt>
                <c:pt idx="888">
                  <c:v>2.3999616006143903E-5</c:v>
                </c:pt>
                <c:pt idx="889">
                  <c:v>2.3999616006143903E-5</c:v>
                </c:pt>
                <c:pt idx="890">
                  <c:v>2.3999616006143903E-5</c:v>
                </c:pt>
                <c:pt idx="891">
                  <c:v>2.3999616006143903E-5</c:v>
                </c:pt>
                <c:pt idx="892">
                  <c:v>2.3999616006143903E-5</c:v>
                </c:pt>
                <c:pt idx="893">
                  <c:v>2.3999616006143903E-5</c:v>
                </c:pt>
                <c:pt idx="894">
                  <c:v>2.3999616006143903E-5</c:v>
                </c:pt>
                <c:pt idx="895">
                  <c:v>2.3999616006143903E-5</c:v>
                </c:pt>
                <c:pt idx="896">
                  <c:v>2.3999616006143903E-5</c:v>
                </c:pt>
                <c:pt idx="897">
                  <c:v>2.3999616006143903E-5</c:v>
                </c:pt>
                <c:pt idx="898">
                  <c:v>2.3999616006143903E-5</c:v>
                </c:pt>
                <c:pt idx="899">
                  <c:v>2.3999616006143903E-5</c:v>
                </c:pt>
                <c:pt idx="900">
                  <c:v>2.6125581990688145E-2</c:v>
                </c:pt>
                <c:pt idx="901">
                  <c:v>2.6125581990688145E-2</c:v>
                </c:pt>
                <c:pt idx="902">
                  <c:v>2.6125581990688145E-2</c:v>
                </c:pt>
                <c:pt idx="903">
                  <c:v>2.6125581990688145E-2</c:v>
                </c:pt>
                <c:pt idx="904">
                  <c:v>2.6125581990688145E-2</c:v>
                </c:pt>
                <c:pt idx="905">
                  <c:v>2.6125581990688145E-2</c:v>
                </c:pt>
                <c:pt idx="906">
                  <c:v>2.6125581990688145E-2</c:v>
                </c:pt>
                <c:pt idx="907">
                  <c:v>2.6125581990688145E-2</c:v>
                </c:pt>
                <c:pt idx="908">
                  <c:v>2.6125581990688145E-2</c:v>
                </c:pt>
                <c:pt idx="909">
                  <c:v>2.6125581990688145E-2</c:v>
                </c:pt>
                <c:pt idx="910">
                  <c:v>2.6125581990688145E-2</c:v>
                </c:pt>
                <c:pt idx="911">
                  <c:v>2.6125581990688145E-2</c:v>
                </c:pt>
                <c:pt idx="912">
                  <c:v>2.6125581990688145E-2</c:v>
                </c:pt>
                <c:pt idx="913">
                  <c:v>2.6125581990688145E-2</c:v>
                </c:pt>
                <c:pt idx="914">
                  <c:v>2.6125581990688145E-2</c:v>
                </c:pt>
                <c:pt idx="915">
                  <c:v>2.6125581990688145E-2</c:v>
                </c:pt>
                <c:pt idx="916">
                  <c:v>2.6125581990688145E-2</c:v>
                </c:pt>
                <c:pt idx="917">
                  <c:v>2.6125581990688145E-2</c:v>
                </c:pt>
                <c:pt idx="918">
                  <c:v>2.6125581990688145E-2</c:v>
                </c:pt>
                <c:pt idx="919">
                  <c:v>2.6125581990688145E-2</c:v>
                </c:pt>
                <c:pt idx="920">
                  <c:v>2.6125581990688145E-2</c:v>
                </c:pt>
                <c:pt idx="921">
                  <c:v>2.6125581990688145E-2</c:v>
                </c:pt>
                <c:pt idx="922">
                  <c:v>2.6125581990688145E-2</c:v>
                </c:pt>
                <c:pt idx="923">
                  <c:v>2.6125581990688145E-2</c:v>
                </c:pt>
                <c:pt idx="924">
                  <c:v>2.6125581990688145E-2</c:v>
                </c:pt>
                <c:pt idx="925">
                  <c:v>2.6125581990688145E-2</c:v>
                </c:pt>
                <c:pt idx="926">
                  <c:v>2.6125581990688145E-2</c:v>
                </c:pt>
                <c:pt idx="927">
                  <c:v>2.6125581990688145E-2</c:v>
                </c:pt>
                <c:pt idx="928">
                  <c:v>2.6125581990688145E-2</c:v>
                </c:pt>
                <c:pt idx="929">
                  <c:v>2.6125581990688145E-2</c:v>
                </c:pt>
                <c:pt idx="930">
                  <c:v>2.6125581990688145E-2</c:v>
                </c:pt>
                <c:pt idx="931">
                  <c:v>2.6125581990688145E-2</c:v>
                </c:pt>
                <c:pt idx="932">
                  <c:v>2.6125581990688145E-2</c:v>
                </c:pt>
                <c:pt idx="933">
                  <c:v>2.6125581990688145E-2</c:v>
                </c:pt>
                <c:pt idx="934">
                  <c:v>2.6125581990688145E-2</c:v>
                </c:pt>
                <c:pt idx="935">
                  <c:v>2.6125581990688145E-2</c:v>
                </c:pt>
                <c:pt idx="936">
                  <c:v>2.6125581990688145E-2</c:v>
                </c:pt>
                <c:pt idx="937">
                  <c:v>2.6125581990688145E-2</c:v>
                </c:pt>
                <c:pt idx="938">
                  <c:v>2.6125581990688145E-2</c:v>
                </c:pt>
                <c:pt idx="939">
                  <c:v>2.6125581990688145E-2</c:v>
                </c:pt>
                <c:pt idx="940">
                  <c:v>2.6125581990688145E-2</c:v>
                </c:pt>
                <c:pt idx="941">
                  <c:v>2.6125581990688145E-2</c:v>
                </c:pt>
                <c:pt idx="942">
                  <c:v>2.6125581990688145E-2</c:v>
                </c:pt>
                <c:pt idx="943">
                  <c:v>2.6125581990688145E-2</c:v>
                </c:pt>
                <c:pt idx="944">
                  <c:v>2.6125581990688145E-2</c:v>
                </c:pt>
                <c:pt idx="945">
                  <c:v>2.6125581990688145E-2</c:v>
                </c:pt>
                <c:pt idx="946">
                  <c:v>2.6125581990688145E-2</c:v>
                </c:pt>
                <c:pt idx="947">
                  <c:v>2.6125581990688145E-2</c:v>
                </c:pt>
                <c:pt idx="948">
                  <c:v>2.6125581990688145E-2</c:v>
                </c:pt>
                <c:pt idx="949">
                  <c:v>2.6125581990688145E-2</c:v>
                </c:pt>
                <c:pt idx="950">
                  <c:v>2.6125581990688145E-2</c:v>
                </c:pt>
                <c:pt idx="951">
                  <c:v>2.6125581990688145E-2</c:v>
                </c:pt>
                <c:pt idx="952">
                  <c:v>2.6125581990688145E-2</c:v>
                </c:pt>
                <c:pt idx="953">
                  <c:v>2.6125581990688145E-2</c:v>
                </c:pt>
                <c:pt idx="954">
                  <c:v>2.6125581990688145E-2</c:v>
                </c:pt>
                <c:pt idx="955">
                  <c:v>2.6125581990688145E-2</c:v>
                </c:pt>
                <c:pt idx="956">
                  <c:v>2.6125581990688145E-2</c:v>
                </c:pt>
                <c:pt idx="957">
                  <c:v>2.6125581990688145E-2</c:v>
                </c:pt>
                <c:pt idx="958">
                  <c:v>2.6125581990688145E-2</c:v>
                </c:pt>
                <c:pt idx="959">
                  <c:v>2.6125581990688145E-2</c:v>
                </c:pt>
                <c:pt idx="960">
                  <c:v>2.6125581990688145E-2</c:v>
                </c:pt>
                <c:pt idx="961">
                  <c:v>2.6125581990688145E-2</c:v>
                </c:pt>
                <c:pt idx="962">
                  <c:v>2.6125581990688145E-2</c:v>
                </c:pt>
                <c:pt idx="963">
                  <c:v>2.6125581990688145E-2</c:v>
                </c:pt>
                <c:pt idx="964">
                  <c:v>2.6125581990688145E-2</c:v>
                </c:pt>
                <c:pt idx="965">
                  <c:v>2.6125581990688145E-2</c:v>
                </c:pt>
                <c:pt idx="966">
                  <c:v>2.6125581990688145E-2</c:v>
                </c:pt>
                <c:pt idx="967">
                  <c:v>2.6125581990688145E-2</c:v>
                </c:pt>
                <c:pt idx="968">
                  <c:v>2.6125581990688145E-2</c:v>
                </c:pt>
                <c:pt idx="969">
                  <c:v>2.6125581990688145E-2</c:v>
                </c:pt>
                <c:pt idx="970">
                  <c:v>2.6125581990688145E-2</c:v>
                </c:pt>
                <c:pt idx="971">
                  <c:v>2.6125581990688145E-2</c:v>
                </c:pt>
                <c:pt idx="972">
                  <c:v>2.6125581990688145E-2</c:v>
                </c:pt>
                <c:pt idx="973">
                  <c:v>2.6125581990688145E-2</c:v>
                </c:pt>
                <c:pt idx="974">
                  <c:v>2.6125581990688145E-2</c:v>
                </c:pt>
                <c:pt idx="975">
                  <c:v>2.6125581990688145E-2</c:v>
                </c:pt>
                <c:pt idx="976">
                  <c:v>2.6125581990688145E-2</c:v>
                </c:pt>
                <c:pt idx="977">
                  <c:v>2.6125581990688145E-2</c:v>
                </c:pt>
                <c:pt idx="978">
                  <c:v>2.6125581990688145E-2</c:v>
                </c:pt>
                <c:pt idx="979">
                  <c:v>2.6125581990688145E-2</c:v>
                </c:pt>
                <c:pt idx="980">
                  <c:v>2.6125581990688145E-2</c:v>
                </c:pt>
                <c:pt idx="981">
                  <c:v>2.6125581990688145E-2</c:v>
                </c:pt>
                <c:pt idx="982">
                  <c:v>2.6125581990688145E-2</c:v>
                </c:pt>
                <c:pt idx="983">
                  <c:v>2.6125581990688145E-2</c:v>
                </c:pt>
                <c:pt idx="984">
                  <c:v>2.6125581990688145E-2</c:v>
                </c:pt>
                <c:pt idx="985">
                  <c:v>2.6125581990688145E-2</c:v>
                </c:pt>
                <c:pt idx="986">
                  <c:v>2.6125581990688145E-2</c:v>
                </c:pt>
                <c:pt idx="987">
                  <c:v>2.6125581990688145E-2</c:v>
                </c:pt>
                <c:pt idx="988">
                  <c:v>2.6125581990688145E-2</c:v>
                </c:pt>
                <c:pt idx="989">
                  <c:v>2.6125581990688145E-2</c:v>
                </c:pt>
                <c:pt idx="990">
                  <c:v>2.6125581990688145E-2</c:v>
                </c:pt>
                <c:pt idx="991">
                  <c:v>2.6125581990688145E-2</c:v>
                </c:pt>
                <c:pt idx="992">
                  <c:v>2.6125581990688145E-2</c:v>
                </c:pt>
                <c:pt idx="993">
                  <c:v>2.6125581990688145E-2</c:v>
                </c:pt>
                <c:pt idx="994">
                  <c:v>2.6125581990688145E-2</c:v>
                </c:pt>
                <c:pt idx="995">
                  <c:v>2.6125581990688145E-2</c:v>
                </c:pt>
                <c:pt idx="996">
                  <c:v>2.6125581990688145E-2</c:v>
                </c:pt>
                <c:pt idx="997">
                  <c:v>2.6125581990688145E-2</c:v>
                </c:pt>
                <c:pt idx="998">
                  <c:v>2.6125581990688145E-2</c:v>
                </c:pt>
                <c:pt idx="999">
                  <c:v>2.6125581990688145E-2</c:v>
                </c:pt>
                <c:pt idx="1000">
                  <c:v>8.1382697876833984E-2</c:v>
                </c:pt>
                <c:pt idx="1001">
                  <c:v>8.1382697876833984E-2</c:v>
                </c:pt>
                <c:pt idx="1002">
                  <c:v>8.1382697876833984E-2</c:v>
                </c:pt>
                <c:pt idx="1003">
                  <c:v>8.1382697876833984E-2</c:v>
                </c:pt>
                <c:pt idx="1004">
                  <c:v>8.1382697876833984E-2</c:v>
                </c:pt>
                <c:pt idx="1005">
                  <c:v>8.1382697876833984E-2</c:v>
                </c:pt>
                <c:pt idx="1006">
                  <c:v>8.1382697876833984E-2</c:v>
                </c:pt>
                <c:pt idx="1007">
                  <c:v>8.1382697876833984E-2</c:v>
                </c:pt>
                <c:pt idx="1008">
                  <c:v>8.1382697876833984E-2</c:v>
                </c:pt>
                <c:pt idx="1009">
                  <c:v>8.1382697876833984E-2</c:v>
                </c:pt>
                <c:pt idx="1010">
                  <c:v>8.1382697876833984E-2</c:v>
                </c:pt>
                <c:pt idx="1011">
                  <c:v>8.1382697876833984E-2</c:v>
                </c:pt>
                <c:pt idx="1012">
                  <c:v>8.1382697876833984E-2</c:v>
                </c:pt>
                <c:pt idx="1013">
                  <c:v>8.1382697876833984E-2</c:v>
                </c:pt>
                <c:pt idx="1014">
                  <c:v>8.1382697876833984E-2</c:v>
                </c:pt>
                <c:pt idx="1015">
                  <c:v>8.1382697876833984E-2</c:v>
                </c:pt>
                <c:pt idx="1016">
                  <c:v>8.1382697876833984E-2</c:v>
                </c:pt>
                <c:pt idx="1017">
                  <c:v>8.1382697876833984E-2</c:v>
                </c:pt>
                <c:pt idx="1018">
                  <c:v>8.1382697876833984E-2</c:v>
                </c:pt>
                <c:pt idx="1019">
                  <c:v>8.1382697876833984E-2</c:v>
                </c:pt>
                <c:pt idx="1020">
                  <c:v>8.1382697876833984E-2</c:v>
                </c:pt>
                <c:pt idx="1021">
                  <c:v>8.1382697876833984E-2</c:v>
                </c:pt>
                <c:pt idx="1022">
                  <c:v>8.1382697876833984E-2</c:v>
                </c:pt>
                <c:pt idx="1023">
                  <c:v>8.1382697876833984E-2</c:v>
                </c:pt>
                <c:pt idx="1024">
                  <c:v>8.1382697876833984E-2</c:v>
                </c:pt>
                <c:pt idx="1025">
                  <c:v>8.1382697876833984E-2</c:v>
                </c:pt>
                <c:pt idx="1026">
                  <c:v>8.1382697876833984E-2</c:v>
                </c:pt>
                <c:pt idx="1027">
                  <c:v>8.1382697876833984E-2</c:v>
                </c:pt>
                <c:pt idx="1028">
                  <c:v>8.1382697876833984E-2</c:v>
                </c:pt>
                <c:pt idx="1029">
                  <c:v>8.1382697876833984E-2</c:v>
                </c:pt>
                <c:pt idx="1030">
                  <c:v>8.1382697876833984E-2</c:v>
                </c:pt>
                <c:pt idx="1031">
                  <c:v>8.1382697876833984E-2</c:v>
                </c:pt>
                <c:pt idx="1032">
                  <c:v>8.1382697876833984E-2</c:v>
                </c:pt>
                <c:pt idx="1033">
                  <c:v>8.1382697876833984E-2</c:v>
                </c:pt>
                <c:pt idx="1034">
                  <c:v>8.1382697876833984E-2</c:v>
                </c:pt>
                <c:pt idx="1035">
                  <c:v>8.1382697876833984E-2</c:v>
                </c:pt>
                <c:pt idx="1036">
                  <c:v>8.1382697876833984E-2</c:v>
                </c:pt>
                <c:pt idx="1037">
                  <c:v>8.1382697876833984E-2</c:v>
                </c:pt>
                <c:pt idx="1038">
                  <c:v>8.1382697876833984E-2</c:v>
                </c:pt>
                <c:pt idx="1039">
                  <c:v>8.1382697876833984E-2</c:v>
                </c:pt>
                <c:pt idx="1040">
                  <c:v>8.1382697876833984E-2</c:v>
                </c:pt>
                <c:pt idx="1041">
                  <c:v>8.1382697876833984E-2</c:v>
                </c:pt>
                <c:pt idx="1042">
                  <c:v>8.1382697876833984E-2</c:v>
                </c:pt>
                <c:pt idx="1043">
                  <c:v>8.1382697876833984E-2</c:v>
                </c:pt>
                <c:pt idx="1044">
                  <c:v>8.1382697876833984E-2</c:v>
                </c:pt>
                <c:pt idx="1045">
                  <c:v>8.1382697876833984E-2</c:v>
                </c:pt>
                <c:pt idx="1046">
                  <c:v>8.1382697876833984E-2</c:v>
                </c:pt>
                <c:pt idx="1047">
                  <c:v>8.1382697876833984E-2</c:v>
                </c:pt>
                <c:pt idx="1048">
                  <c:v>8.1382697876833984E-2</c:v>
                </c:pt>
                <c:pt idx="1049">
                  <c:v>8.1382697876833984E-2</c:v>
                </c:pt>
                <c:pt idx="1050">
                  <c:v>8.1382697876833984E-2</c:v>
                </c:pt>
                <c:pt idx="1051">
                  <c:v>8.1382697876833984E-2</c:v>
                </c:pt>
                <c:pt idx="1052">
                  <c:v>8.1382697876833984E-2</c:v>
                </c:pt>
                <c:pt idx="1053">
                  <c:v>8.1382697876833984E-2</c:v>
                </c:pt>
                <c:pt idx="1054">
                  <c:v>8.1382697876833984E-2</c:v>
                </c:pt>
                <c:pt idx="1055">
                  <c:v>8.1382697876833984E-2</c:v>
                </c:pt>
                <c:pt idx="1056">
                  <c:v>8.1382697876833984E-2</c:v>
                </c:pt>
                <c:pt idx="1057">
                  <c:v>8.1382697876833984E-2</c:v>
                </c:pt>
                <c:pt idx="1058">
                  <c:v>8.1382697876833984E-2</c:v>
                </c:pt>
                <c:pt idx="1059">
                  <c:v>8.1382697876833984E-2</c:v>
                </c:pt>
                <c:pt idx="1060">
                  <c:v>8.1382697876833984E-2</c:v>
                </c:pt>
                <c:pt idx="1061">
                  <c:v>8.1382697876833984E-2</c:v>
                </c:pt>
                <c:pt idx="1062">
                  <c:v>8.1382697876833984E-2</c:v>
                </c:pt>
                <c:pt idx="1063">
                  <c:v>8.1382697876833984E-2</c:v>
                </c:pt>
                <c:pt idx="1064">
                  <c:v>8.1382697876833984E-2</c:v>
                </c:pt>
                <c:pt idx="1065">
                  <c:v>8.1382697876833984E-2</c:v>
                </c:pt>
                <c:pt idx="1066">
                  <c:v>8.1382697876833984E-2</c:v>
                </c:pt>
                <c:pt idx="1067">
                  <c:v>8.1382697876833984E-2</c:v>
                </c:pt>
                <c:pt idx="1068">
                  <c:v>8.1382697876833984E-2</c:v>
                </c:pt>
                <c:pt idx="1069">
                  <c:v>8.1382697876833984E-2</c:v>
                </c:pt>
                <c:pt idx="1070">
                  <c:v>8.1382697876833984E-2</c:v>
                </c:pt>
                <c:pt idx="1071">
                  <c:v>8.1382697876833984E-2</c:v>
                </c:pt>
                <c:pt idx="1072">
                  <c:v>8.1382697876833984E-2</c:v>
                </c:pt>
                <c:pt idx="1073">
                  <c:v>8.1382697876833984E-2</c:v>
                </c:pt>
                <c:pt idx="1074">
                  <c:v>8.1382697876833984E-2</c:v>
                </c:pt>
                <c:pt idx="1075">
                  <c:v>8.1382697876833984E-2</c:v>
                </c:pt>
                <c:pt idx="1076">
                  <c:v>8.1382697876833984E-2</c:v>
                </c:pt>
                <c:pt idx="1077">
                  <c:v>8.1382697876833984E-2</c:v>
                </c:pt>
                <c:pt idx="1078">
                  <c:v>8.1382697876833984E-2</c:v>
                </c:pt>
                <c:pt idx="1079">
                  <c:v>8.1382697876833984E-2</c:v>
                </c:pt>
                <c:pt idx="1080">
                  <c:v>8.1382697876833984E-2</c:v>
                </c:pt>
                <c:pt idx="1081">
                  <c:v>8.1382697876833984E-2</c:v>
                </c:pt>
                <c:pt idx="1082">
                  <c:v>8.1382697876833984E-2</c:v>
                </c:pt>
                <c:pt idx="1083">
                  <c:v>8.1382697876833984E-2</c:v>
                </c:pt>
                <c:pt idx="1084">
                  <c:v>8.1382697876833984E-2</c:v>
                </c:pt>
                <c:pt idx="1085">
                  <c:v>8.1382697876833984E-2</c:v>
                </c:pt>
                <c:pt idx="1086">
                  <c:v>8.1382697876833984E-2</c:v>
                </c:pt>
                <c:pt idx="1087">
                  <c:v>8.1382697876833984E-2</c:v>
                </c:pt>
                <c:pt idx="1088">
                  <c:v>8.1382697876833984E-2</c:v>
                </c:pt>
                <c:pt idx="1089">
                  <c:v>8.1382697876833984E-2</c:v>
                </c:pt>
                <c:pt idx="1090">
                  <c:v>8.1382697876833984E-2</c:v>
                </c:pt>
                <c:pt idx="1091">
                  <c:v>8.1382697876833984E-2</c:v>
                </c:pt>
                <c:pt idx="1092">
                  <c:v>8.1382697876833984E-2</c:v>
                </c:pt>
                <c:pt idx="1093">
                  <c:v>8.1382697876833984E-2</c:v>
                </c:pt>
                <c:pt idx="1094">
                  <c:v>8.1382697876833984E-2</c:v>
                </c:pt>
                <c:pt idx="1095">
                  <c:v>8.1382697876833984E-2</c:v>
                </c:pt>
                <c:pt idx="1096">
                  <c:v>8.1382697876833984E-2</c:v>
                </c:pt>
                <c:pt idx="1097">
                  <c:v>8.1382697876833984E-2</c:v>
                </c:pt>
                <c:pt idx="1098">
                  <c:v>8.1382697876833984E-2</c:v>
                </c:pt>
                <c:pt idx="1099">
                  <c:v>8.1382697876833984E-2</c:v>
                </c:pt>
                <c:pt idx="1100">
                  <c:v>0.2951552775155597</c:v>
                </c:pt>
                <c:pt idx="1101">
                  <c:v>0.2951552775155597</c:v>
                </c:pt>
                <c:pt idx="1102">
                  <c:v>0.2951552775155597</c:v>
                </c:pt>
                <c:pt idx="1103">
                  <c:v>0.2951552775155597</c:v>
                </c:pt>
                <c:pt idx="1104">
                  <c:v>0.2951552775155597</c:v>
                </c:pt>
                <c:pt idx="1105">
                  <c:v>0.2951552775155597</c:v>
                </c:pt>
                <c:pt idx="1106">
                  <c:v>0.2951552775155597</c:v>
                </c:pt>
                <c:pt idx="1107">
                  <c:v>0.2951552775155597</c:v>
                </c:pt>
                <c:pt idx="1108">
                  <c:v>0.2951552775155597</c:v>
                </c:pt>
                <c:pt idx="1109">
                  <c:v>0.2951552775155597</c:v>
                </c:pt>
                <c:pt idx="1110">
                  <c:v>0.2951552775155597</c:v>
                </c:pt>
                <c:pt idx="1111">
                  <c:v>0.2951552775155597</c:v>
                </c:pt>
                <c:pt idx="1112">
                  <c:v>0.2951552775155597</c:v>
                </c:pt>
                <c:pt idx="1113">
                  <c:v>0.2951552775155597</c:v>
                </c:pt>
                <c:pt idx="1114">
                  <c:v>0.2951552775155597</c:v>
                </c:pt>
                <c:pt idx="1115">
                  <c:v>0.2951552775155597</c:v>
                </c:pt>
                <c:pt idx="1116">
                  <c:v>0.2951552775155597</c:v>
                </c:pt>
                <c:pt idx="1117">
                  <c:v>0.2951552775155597</c:v>
                </c:pt>
                <c:pt idx="1118">
                  <c:v>0.2951552775155597</c:v>
                </c:pt>
                <c:pt idx="1119">
                  <c:v>0.2951552775155597</c:v>
                </c:pt>
                <c:pt idx="1120">
                  <c:v>0.2951552775155597</c:v>
                </c:pt>
                <c:pt idx="1121">
                  <c:v>0.2951552775155597</c:v>
                </c:pt>
                <c:pt idx="1122">
                  <c:v>0.2951552775155597</c:v>
                </c:pt>
                <c:pt idx="1123">
                  <c:v>0.2951552775155597</c:v>
                </c:pt>
                <c:pt idx="1124">
                  <c:v>0.2951552775155597</c:v>
                </c:pt>
                <c:pt idx="1125">
                  <c:v>0.2951552775155597</c:v>
                </c:pt>
                <c:pt idx="1126">
                  <c:v>0.2951552775155597</c:v>
                </c:pt>
                <c:pt idx="1127">
                  <c:v>0.2951552775155597</c:v>
                </c:pt>
                <c:pt idx="1128">
                  <c:v>0.2951552775155597</c:v>
                </c:pt>
                <c:pt idx="1129">
                  <c:v>0.2951552775155597</c:v>
                </c:pt>
                <c:pt idx="1130">
                  <c:v>0.2951552775155597</c:v>
                </c:pt>
                <c:pt idx="1131">
                  <c:v>0.2951552775155597</c:v>
                </c:pt>
                <c:pt idx="1132">
                  <c:v>0.2951552775155597</c:v>
                </c:pt>
                <c:pt idx="1133">
                  <c:v>0.2951552775155597</c:v>
                </c:pt>
                <c:pt idx="1134">
                  <c:v>0.2951552775155597</c:v>
                </c:pt>
                <c:pt idx="1135">
                  <c:v>0.2951552775155597</c:v>
                </c:pt>
                <c:pt idx="1136">
                  <c:v>0.2951552775155597</c:v>
                </c:pt>
                <c:pt idx="1137">
                  <c:v>0.2951552775155597</c:v>
                </c:pt>
                <c:pt idx="1138">
                  <c:v>0.2951552775155597</c:v>
                </c:pt>
                <c:pt idx="1139">
                  <c:v>0.2951552775155597</c:v>
                </c:pt>
                <c:pt idx="1140">
                  <c:v>0.2951552775155597</c:v>
                </c:pt>
                <c:pt idx="1141">
                  <c:v>0.2951552775155597</c:v>
                </c:pt>
                <c:pt idx="1142">
                  <c:v>0.2951552775155597</c:v>
                </c:pt>
                <c:pt idx="1143">
                  <c:v>0.2951552775155597</c:v>
                </c:pt>
                <c:pt idx="1144">
                  <c:v>0.2951552775155597</c:v>
                </c:pt>
                <c:pt idx="1145">
                  <c:v>0.2951552775155597</c:v>
                </c:pt>
                <c:pt idx="1146">
                  <c:v>0.2951552775155597</c:v>
                </c:pt>
                <c:pt idx="1147">
                  <c:v>0.2951552775155597</c:v>
                </c:pt>
                <c:pt idx="1148">
                  <c:v>0.2951552775155597</c:v>
                </c:pt>
                <c:pt idx="1149">
                  <c:v>0.2951552775155597</c:v>
                </c:pt>
                <c:pt idx="1150">
                  <c:v>0.2951552775155597</c:v>
                </c:pt>
                <c:pt idx="1151">
                  <c:v>0.2951552775155597</c:v>
                </c:pt>
                <c:pt idx="1152">
                  <c:v>0.2951552775155597</c:v>
                </c:pt>
                <c:pt idx="1153">
                  <c:v>0.2951552775155597</c:v>
                </c:pt>
                <c:pt idx="1154">
                  <c:v>0.2951552775155597</c:v>
                </c:pt>
                <c:pt idx="1155">
                  <c:v>0.2951552775155597</c:v>
                </c:pt>
                <c:pt idx="1156">
                  <c:v>0.2951552775155597</c:v>
                </c:pt>
                <c:pt idx="1157">
                  <c:v>0.2951552775155597</c:v>
                </c:pt>
                <c:pt idx="1158">
                  <c:v>0.2951552775155597</c:v>
                </c:pt>
                <c:pt idx="1159">
                  <c:v>0.2951552775155597</c:v>
                </c:pt>
                <c:pt idx="1160">
                  <c:v>0.2951552775155597</c:v>
                </c:pt>
                <c:pt idx="1161">
                  <c:v>0.2951552775155597</c:v>
                </c:pt>
                <c:pt idx="1162">
                  <c:v>0.2951552775155597</c:v>
                </c:pt>
                <c:pt idx="1163">
                  <c:v>0.2951552775155597</c:v>
                </c:pt>
                <c:pt idx="1164">
                  <c:v>0.2951552775155597</c:v>
                </c:pt>
                <c:pt idx="1165">
                  <c:v>0.2951552775155597</c:v>
                </c:pt>
                <c:pt idx="1166">
                  <c:v>0.2951552775155597</c:v>
                </c:pt>
                <c:pt idx="1167">
                  <c:v>0.2951552775155597</c:v>
                </c:pt>
                <c:pt idx="1168">
                  <c:v>0.2951552775155597</c:v>
                </c:pt>
                <c:pt idx="1169">
                  <c:v>0.2951552775155597</c:v>
                </c:pt>
                <c:pt idx="1170">
                  <c:v>0.2951552775155597</c:v>
                </c:pt>
                <c:pt idx="1171">
                  <c:v>0.2951552775155597</c:v>
                </c:pt>
                <c:pt idx="1172">
                  <c:v>0.2951552775155597</c:v>
                </c:pt>
                <c:pt idx="1173">
                  <c:v>0.2951552775155597</c:v>
                </c:pt>
                <c:pt idx="1174">
                  <c:v>0.2951552775155597</c:v>
                </c:pt>
                <c:pt idx="1175">
                  <c:v>0.2951552775155597</c:v>
                </c:pt>
                <c:pt idx="1176">
                  <c:v>0.2951552775155597</c:v>
                </c:pt>
                <c:pt idx="1177">
                  <c:v>0.2951552775155597</c:v>
                </c:pt>
                <c:pt idx="1178">
                  <c:v>0.2951552775155597</c:v>
                </c:pt>
                <c:pt idx="1179">
                  <c:v>0.2951552775155597</c:v>
                </c:pt>
                <c:pt idx="1180">
                  <c:v>0.2951552775155597</c:v>
                </c:pt>
                <c:pt idx="1181">
                  <c:v>0.2951552775155597</c:v>
                </c:pt>
                <c:pt idx="1182">
                  <c:v>0.2951552775155597</c:v>
                </c:pt>
                <c:pt idx="1183">
                  <c:v>0.2951552775155597</c:v>
                </c:pt>
                <c:pt idx="1184">
                  <c:v>0.2951552775155597</c:v>
                </c:pt>
                <c:pt idx="1185">
                  <c:v>0.2951552775155597</c:v>
                </c:pt>
                <c:pt idx="1186">
                  <c:v>0.2951552775155597</c:v>
                </c:pt>
                <c:pt idx="1187">
                  <c:v>0.2951552775155597</c:v>
                </c:pt>
                <c:pt idx="1188">
                  <c:v>0.2951552775155597</c:v>
                </c:pt>
                <c:pt idx="1189">
                  <c:v>0.2951552775155597</c:v>
                </c:pt>
                <c:pt idx="1190">
                  <c:v>0.2951552775155597</c:v>
                </c:pt>
                <c:pt idx="1191">
                  <c:v>0.2951552775155597</c:v>
                </c:pt>
                <c:pt idx="1192">
                  <c:v>0.2951552775155597</c:v>
                </c:pt>
                <c:pt idx="1193">
                  <c:v>0.2951552775155597</c:v>
                </c:pt>
                <c:pt idx="1194">
                  <c:v>0.2951552775155597</c:v>
                </c:pt>
                <c:pt idx="1195">
                  <c:v>0.2951552775155597</c:v>
                </c:pt>
                <c:pt idx="1196">
                  <c:v>0.2951552775155597</c:v>
                </c:pt>
                <c:pt idx="1197">
                  <c:v>0.2951552775155597</c:v>
                </c:pt>
                <c:pt idx="1198">
                  <c:v>0.2951552775155597</c:v>
                </c:pt>
                <c:pt idx="1199">
                  <c:v>0.2951552775155597</c:v>
                </c:pt>
                <c:pt idx="1200">
                  <c:v>0.24453408745460073</c:v>
                </c:pt>
                <c:pt idx="1201">
                  <c:v>0.24453408745460073</c:v>
                </c:pt>
                <c:pt idx="1202">
                  <c:v>0.24453408745460073</c:v>
                </c:pt>
                <c:pt idx="1203">
                  <c:v>0.24453408745460073</c:v>
                </c:pt>
                <c:pt idx="1204">
                  <c:v>0.24453408745460073</c:v>
                </c:pt>
                <c:pt idx="1205">
                  <c:v>0.24453408745460073</c:v>
                </c:pt>
                <c:pt idx="1206">
                  <c:v>0.24453408745460073</c:v>
                </c:pt>
                <c:pt idx="1207">
                  <c:v>0.24453408745460073</c:v>
                </c:pt>
                <c:pt idx="1208">
                  <c:v>0.24453408745460073</c:v>
                </c:pt>
                <c:pt idx="1209">
                  <c:v>0.24453408745460073</c:v>
                </c:pt>
                <c:pt idx="1210">
                  <c:v>0.24453408745460073</c:v>
                </c:pt>
                <c:pt idx="1211">
                  <c:v>0.24453408745460073</c:v>
                </c:pt>
                <c:pt idx="1212">
                  <c:v>0.24453408745460073</c:v>
                </c:pt>
                <c:pt idx="1213">
                  <c:v>0.24453408745460073</c:v>
                </c:pt>
                <c:pt idx="1214">
                  <c:v>0.24453408745460073</c:v>
                </c:pt>
                <c:pt idx="1215">
                  <c:v>0.24453408745460073</c:v>
                </c:pt>
                <c:pt idx="1216">
                  <c:v>0.24453408745460073</c:v>
                </c:pt>
                <c:pt idx="1217">
                  <c:v>0.24453408745460073</c:v>
                </c:pt>
                <c:pt idx="1218">
                  <c:v>0.24453408745460073</c:v>
                </c:pt>
                <c:pt idx="1219">
                  <c:v>0.24453408745460073</c:v>
                </c:pt>
                <c:pt idx="1220">
                  <c:v>0.24453408745460073</c:v>
                </c:pt>
                <c:pt idx="1221">
                  <c:v>0.24453408745460073</c:v>
                </c:pt>
                <c:pt idx="1222">
                  <c:v>0.24453408745460073</c:v>
                </c:pt>
                <c:pt idx="1223">
                  <c:v>0.24453408745460073</c:v>
                </c:pt>
                <c:pt idx="1224">
                  <c:v>0.24453408745460073</c:v>
                </c:pt>
                <c:pt idx="1225">
                  <c:v>0.24453408745460073</c:v>
                </c:pt>
                <c:pt idx="1226">
                  <c:v>0.24453408745460073</c:v>
                </c:pt>
                <c:pt idx="1227">
                  <c:v>0.24453408745460073</c:v>
                </c:pt>
                <c:pt idx="1228">
                  <c:v>0.24453408745460073</c:v>
                </c:pt>
                <c:pt idx="1229">
                  <c:v>0.24453408745460073</c:v>
                </c:pt>
                <c:pt idx="1230">
                  <c:v>0.24453408745460073</c:v>
                </c:pt>
                <c:pt idx="1231">
                  <c:v>0.24453408745460073</c:v>
                </c:pt>
                <c:pt idx="1232">
                  <c:v>0.24453408745460073</c:v>
                </c:pt>
                <c:pt idx="1233">
                  <c:v>0.24453408745460073</c:v>
                </c:pt>
                <c:pt idx="1234">
                  <c:v>0.24453408745460073</c:v>
                </c:pt>
                <c:pt idx="1235">
                  <c:v>0.24453408745460073</c:v>
                </c:pt>
                <c:pt idx="1236">
                  <c:v>0.24453408745460073</c:v>
                </c:pt>
                <c:pt idx="1237">
                  <c:v>0.24453408745460073</c:v>
                </c:pt>
                <c:pt idx="1238">
                  <c:v>0.24453408745460073</c:v>
                </c:pt>
                <c:pt idx="1239">
                  <c:v>0.24453408745460073</c:v>
                </c:pt>
                <c:pt idx="1240">
                  <c:v>0.24453408745460073</c:v>
                </c:pt>
                <c:pt idx="1241">
                  <c:v>0.24453408745460073</c:v>
                </c:pt>
                <c:pt idx="1242">
                  <c:v>0.24453408745460073</c:v>
                </c:pt>
                <c:pt idx="1243">
                  <c:v>0.24453408745460073</c:v>
                </c:pt>
                <c:pt idx="1244">
                  <c:v>0.24453408745460073</c:v>
                </c:pt>
                <c:pt idx="1245">
                  <c:v>0.24453408745460073</c:v>
                </c:pt>
                <c:pt idx="1246">
                  <c:v>0.24453408745460073</c:v>
                </c:pt>
                <c:pt idx="1247">
                  <c:v>0.24453408745460073</c:v>
                </c:pt>
                <c:pt idx="1248">
                  <c:v>0.24453408745460073</c:v>
                </c:pt>
                <c:pt idx="1249">
                  <c:v>0.24453408745460073</c:v>
                </c:pt>
                <c:pt idx="1250">
                  <c:v>0.24453408745460073</c:v>
                </c:pt>
                <c:pt idx="1251">
                  <c:v>0.24453408745460073</c:v>
                </c:pt>
                <c:pt idx="1252">
                  <c:v>0.24453408745460073</c:v>
                </c:pt>
                <c:pt idx="1253">
                  <c:v>0.24453408745460073</c:v>
                </c:pt>
                <c:pt idx="1254">
                  <c:v>0.24453408745460073</c:v>
                </c:pt>
                <c:pt idx="1255">
                  <c:v>0.24453408745460073</c:v>
                </c:pt>
                <c:pt idx="1256">
                  <c:v>0.24453408745460073</c:v>
                </c:pt>
                <c:pt idx="1257">
                  <c:v>0.24453408745460073</c:v>
                </c:pt>
                <c:pt idx="1258">
                  <c:v>0.24453408745460073</c:v>
                </c:pt>
                <c:pt idx="1259">
                  <c:v>0.24453408745460073</c:v>
                </c:pt>
                <c:pt idx="1260">
                  <c:v>0.24453408745460073</c:v>
                </c:pt>
                <c:pt idx="1261">
                  <c:v>0.24453408745460073</c:v>
                </c:pt>
                <c:pt idx="1262">
                  <c:v>0.24453408745460073</c:v>
                </c:pt>
                <c:pt idx="1263">
                  <c:v>0.24453408745460073</c:v>
                </c:pt>
                <c:pt idx="1264">
                  <c:v>0.24453408745460073</c:v>
                </c:pt>
                <c:pt idx="1265">
                  <c:v>0.24453408745460073</c:v>
                </c:pt>
                <c:pt idx="1266">
                  <c:v>0.24453408745460073</c:v>
                </c:pt>
                <c:pt idx="1267">
                  <c:v>0.24453408745460073</c:v>
                </c:pt>
                <c:pt idx="1268">
                  <c:v>0.24453408745460073</c:v>
                </c:pt>
                <c:pt idx="1269">
                  <c:v>0.24453408745460073</c:v>
                </c:pt>
                <c:pt idx="1270">
                  <c:v>0.24453408745460073</c:v>
                </c:pt>
                <c:pt idx="1271">
                  <c:v>0.24453408745460073</c:v>
                </c:pt>
                <c:pt idx="1272">
                  <c:v>0.24453408745460073</c:v>
                </c:pt>
                <c:pt idx="1273">
                  <c:v>0.24453408745460073</c:v>
                </c:pt>
                <c:pt idx="1274">
                  <c:v>0.24453408745460073</c:v>
                </c:pt>
                <c:pt idx="1275">
                  <c:v>0.24453408745460073</c:v>
                </c:pt>
                <c:pt idx="1276">
                  <c:v>0.24453408745460073</c:v>
                </c:pt>
                <c:pt idx="1277">
                  <c:v>0.24453408745460073</c:v>
                </c:pt>
                <c:pt idx="1278">
                  <c:v>0.24453408745460073</c:v>
                </c:pt>
                <c:pt idx="1279">
                  <c:v>0.24453408745460073</c:v>
                </c:pt>
                <c:pt idx="1280">
                  <c:v>0.24453408745460073</c:v>
                </c:pt>
                <c:pt idx="1281">
                  <c:v>0.24453408745460073</c:v>
                </c:pt>
                <c:pt idx="1282">
                  <c:v>0.24453408745460073</c:v>
                </c:pt>
                <c:pt idx="1283">
                  <c:v>0.24453408745460073</c:v>
                </c:pt>
                <c:pt idx="1284">
                  <c:v>0.24453408745460073</c:v>
                </c:pt>
                <c:pt idx="1285">
                  <c:v>0.24453408745460073</c:v>
                </c:pt>
                <c:pt idx="1286">
                  <c:v>0.24453408745460073</c:v>
                </c:pt>
                <c:pt idx="1287">
                  <c:v>0.24453408745460073</c:v>
                </c:pt>
                <c:pt idx="1288">
                  <c:v>0.24453408745460073</c:v>
                </c:pt>
                <c:pt idx="1289">
                  <c:v>0.24453408745460073</c:v>
                </c:pt>
                <c:pt idx="1290">
                  <c:v>0.24453408745460073</c:v>
                </c:pt>
                <c:pt idx="1291">
                  <c:v>0.24453408745460073</c:v>
                </c:pt>
                <c:pt idx="1292">
                  <c:v>0.24453408745460073</c:v>
                </c:pt>
                <c:pt idx="1293">
                  <c:v>0.24453408745460073</c:v>
                </c:pt>
                <c:pt idx="1294">
                  <c:v>0.24453408745460073</c:v>
                </c:pt>
                <c:pt idx="1295">
                  <c:v>0.24453408745460073</c:v>
                </c:pt>
                <c:pt idx="1296">
                  <c:v>0.24453408745460073</c:v>
                </c:pt>
                <c:pt idx="1297">
                  <c:v>0.24453408745460073</c:v>
                </c:pt>
                <c:pt idx="1298">
                  <c:v>0.24453408745460073</c:v>
                </c:pt>
                <c:pt idx="1299">
                  <c:v>0.24453408745460073</c:v>
                </c:pt>
                <c:pt idx="1300">
                  <c:v>0.14719164493368103</c:v>
                </c:pt>
                <c:pt idx="1301">
                  <c:v>0.14719164493368103</c:v>
                </c:pt>
                <c:pt idx="1302">
                  <c:v>0.14719164493368103</c:v>
                </c:pt>
                <c:pt idx="1303">
                  <c:v>0.14719164493368103</c:v>
                </c:pt>
                <c:pt idx="1304">
                  <c:v>0.14719164493368103</c:v>
                </c:pt>
                <c:pt idx="1305">
                  <c:v>0.14719164493368103</c:v>
                </c:pt>
                <c:pt idx="1306">
                  <c:v>0.14719164493368103</c:v>
                </c:pt>
                <c:pt idx="1307">
                  <c:v>0.14719164493368103</c:v>
                </c:pt>
                <c:pt idx="1308">
                  <c:v>0.14719164493368103</c:v>
                </c:pt>
                <c:pt idx="1309">
                  <c:v>0.14719164493368103</c:v>
                </c:pt>
                <c:pt idx="1310">
                  <c:v>0.14719164493368103</c:v>
                </c:pt>
                <c:pt idx="1311">
                  <c:v>0.14719164493368103</c:v>
                </c:pt>
                <c:pt idx="1312">
                  <c:v>0.14719164493368103</c:v>
                </c:pt>
                <c:pt idx="1313">
                  <c:v>0.14719164493368103</c:v>
                </c:pt>
                <c:pt idx="1314">
                  <c:v>0.14719164493368103</c:v>
                </c:pt>
                <c:pt idx="1315">
                  <c:v>0.14719164493368103</c:v>
                </c:pt>
                <c:pt idx="1316">
                  <c:v>0.14719164493368103</c:v>
                </c:pt>
                <c:pt idx="1317">
                  <c:v>0.14719164493368103</c:v>
                </c:pt>
                <c:pt idx="1318">
                  <c:v>0.14719164493368103</c:v>
                </c:pt>
                <c:pt idx="1319">
                  <c:v>0.14719164493368103</c:v>
                </c:pt>
                <c:pt idx="1320">
                  <c:v>0.14719164493368103</c:v>
                </c:pt>
                <c:pt idx="1321">
                  <c:v>0.14719164493368103</c:v>
                </c:pt>
                <c:pt idx="1322">
                  <c:v>0.14719164493368103</c:v>
                </c:pt>
                <c:pt idx="1323">
                  <c:v>0.14719164493368103</c:v>
                </c:pt>
                <c:pt idx="1324">
                  <c:v>0.14719164493368103</c:v>
                </c:pt>
                <c:pt idx="1325">
                  <c:v>0.14719164493368103</c:v>
                </c:pt>
                <c:pt idx="1326">
                  <c:v>0.14719164493368103</c:v>
                </c:pt>
                <c:pt idx="1327">
                  <c:v>0.14719164493368103</c:v>
                </c:pt>
                <c:pt idx="1328">
                  <c:v>0.14719164493368103</c:v>
                </c:pt>
                <c:pt idx="1329">
                  <c:v>0.14719164493368103</c:v>
                </c:pt>
                <c:pt idx="1330">
                  <c:v>0.14719164493368103</c:v>
                </c:pt>
                <c:pt idx="1331">
                  <c:v>0.14719164493368103</c:v>
                </c:pt>
                <c:pt idx="1332">
                  <c:v>0.14719164493368103</c:v>
                </c:pt>
                <c:pt idx="1333">
                  <c:v>0.14719164493368103</c:v>
                </c:pt>
                <c:pt idx="1334">
                  <c:v>0.14719164493368103</c:v>
                </c:pt>
                <c:pt idx="1335">
                  <c:v>0.14719164493368103</c:v>
                </c:pt>
                <c:pt idx="1336">
                  <c:v>0.14719164493368103</c:v>
                </c:pt>
                <c:pt idx="1337">
                  <c:v>0.14719164493368103</c:v>
                </c:pt>
                <c:pt idx="1338">
                  <c:v>0.14719164493368103</c:v>
                </c:pt>
                <c:pt idx="1339">
                  <c:v>0.14719164493368103</c:v>
                </c:pt>
                <c:pt idx="1340">
                  <c:v>0.14719164493368103</c:v>
                </c:pt>
                <c:pt idx="1341">
                  <c:v>0.14719164493368103</c:v>
                </c:pt>
                <c:pt idx="1342">
                  <c:v>0.14719164493368103</c:v>
                </c:pt>
                <c:pt idx="1343">
                  <c:v>0.14719164493368103</c:v>
                </c:pt>
                <c:pt idx="1344">
                  <c:v>0.14719164493368103</c:v>
                </c:pt>
                <c:pt idx="1345">
                  <c:v>0.14719164493368103</c:v>
                </c:pt>
                <c:pt idx="1346">
                  <c:v>0.14719164493368103</c:v>
                </c:pt>
                <c:pt idx="1347">
                  <c:v>0.14719164493368103</c:v>
                </c:pt>
                <c:pt idx="1348">
                  <c:v>0.14719164493368103</c:v>
                </c:pt>
                <c:pt idx="1349">
                  <c:v>0.14719164493368103</c:v>
                </c:pt>
                <c:pt idx="1350">
                  <c:v>0.14719164493368103</c:v>
                </c:pt>
                <c:pt idx="1351">
                  <c:v>0.14719164493368103</c:v>
                </c:pt>
                <c:pt idx="1352">
                  <c:v>0.14719164493368103</c:v>
                </c:pt>
                <c:pt idx="1353">
                  <c:v>0.14719164493368103</c:v>
                </c:pt>
                <c:pt idx="1354">
                  <c:v>0.14719164493368103</c:v>
                </c:pt>
                <c:pt idx="1355">
                  <c:v>0.14719164493368103</c:v>
                </c:pt>
                <c:pt idx="1356">
                  <c:v>0.14719164493368103</c:v>
                </c:pt>
                <c:pt idx="1357">
                  <c:v>0.14719164493368103</c:v>
                </c:pt>
                <c:pt idx="1358">
                  <c:v>0.14719164493368103</c:v>
                </c:pt>
                <c:pt idx="1359">
                  <c:v>0.14719164493368103</c:v>
                </c:pt>
                <c:pt idx="1360">
                  <c:v>0.14719164493368103</c:v>
                </c:pt>
                <c:pt idx="1361">
                  <c:v>0.14719164493368103</c:v>
                </c:pt>
                <c:pt idx="1362">
                  <c:v>0.14719164493368103</c:v>
                </c:pt>
                <c:pt idx="1363">
                  <c:v>0.14719164493368103</c:v>
                </c:pt>
                <c:pt idx="1364">
                  <c:v>0.14719164493368103</c:v>
                </c:pt>
                <c:pt idx="1365">
                  <c:v>0.14719164493368103</c:v>
                </c:pt>
                <c:pt idx="1366">
                  <c:v>0.14719164493368103</c:v>
                </c:pt>
                <c:pt idx="1367">
                  <c:v>0.14719164493368103</c:v>
                </c:pt>
                <c:pt idx="1368">
                  <c:v>0.14719164493368103</c:v>
                </c:pt>
                <c:pt idx="1369">
                  <c:v>0.14719164493368103</c:v>
                </c:pt>
                <c:pt idx="1370">
                  <c:v>0.14719164493368103</c:v>
                </c:pt>
                <c:pt idx="1371">
                  <c:v>0.14719164493368103</c:v>
                </c:pt>
                <c:pt idx="1372">
                  <c:v>0.14719164493368103</c:v>
                </c:pt>
                <c:pt idx="1373">
                  <c:v>0.14719164493368103</c:v>
                </c:pt>
                <c:pt idx="1374">
                  <c:v>0.14719164493368103</c:v>
                </c:pt>
                <c:pt idx="1375">
                  <c:v>0.14719164493368103</c:v>
                </c:pt>
                <c:pt idx="1376">
                  <c:v>0.14719164493368103</c:v>
                </c:pt>
                <c:pt idx="1377">
                  <c:v>0.14719164493368103</c:v>
                </c:pt>
                <c:pt idx="1378">
                  <c:v>0.14719164493368103</c:v>
                </c:pt>
                <c:pt idx="1379">
                  <c:v>0.14719164493368103</c:v>
                </c:pt>
                <c:pt idx="1380">
                  <c:v>0.14719164493368103</c:v>
                </c:pt>
                <c:pt idx="1381">
                  <c:v>0.14719164493368103</c:v>
                </c:pt>
                <c:pt idx="1382">
                  <c:v>0.14719164493368103</c:v>
                </c:pt>
                <c:pt idx="1383">
                  <c:v>0.14719164493368103</c:v>
                </c:pt>
                <c:pt idx="1384">
                  <c:v>0.14719164493368103</c:v>
                </c:pt>
                <c:pt idx="1385">
                  <c:v>0.14719164493368103</c:v>
                </c:pt>
                <c:pt idx="1386">
                  <c:v>0.14719164493368103</c:v>
                </c:pt>
                <c:pt idx="1387">
                  <c:v>0.14719164493368103</c:v>
                </c:pt>
                <c:pt idx="1388">
                  <c:v>0.14719164493368103</c:v>
                </c:pt>
                <c:pt idx="1389">
                  <c:v>0.14719164493368103</c:v>
                </c:pt>
                <c:pt idx="1390">
                  <c:v>0.14719164493368103</c:v>
                </c:pt>
                <c:pt idx="1391">
                  <c:v>0.14719164493368103</c:v>
                </c:pt>
                <c:pt idx="1392">
                  <c:v>0.14719164493368103</c:v>
                </c:pt>
                <c:pt idx="1393">
                  <c:v>0.14719164493368103</c:v>
                </c:pt>
                <c:pt idx="1394">
                  <c:v>0.14719164493368103</c:v>
                </c:pt>
                <c:pt idx="1395">
                  <c:v>0.14719164493368103</c:v>
                </c:pt>
                <c:pt idx="1396">
                  <c:v>0.14719164493368103</c:v>
                </c:pt>
                <c:pt idx="1397">
                  <c:v>0.14719164493368103</c:v>
                </c:pt>
                <c:pt idx="1398">
                  <c:v>0.14719164493368103</c:v>
                </c:pt>
                <c:pt idx="1399">
                  <c:v>0.14719164493368103</c:v>
                </c:pt>
                <c:pt idx="1400">
                  <c:v>7.8114750163997382E-2</c:v>
                </c:pt>
                <c:pt idx="1401">
                  <c:v>7.8114750163997382E-2</c:v>
                </c:pt>
                <c:pt idx="1402">
                  <c:v>7.8114750163997382E-2</c:v>
                </c:pt>
                <c:pt idx="1403">
                  <c:v>7.8114750163997382E-2</c:v>
                </c:pt>
                <c:pt idx="1404">
                  <c:v>7.8114750163997382E-2</c:v>
                </c:pt>
                <c:pt idx="1405">
                  <c:v>7.8114750163997382E-2</c:v>
                </c:pt>
                <c:pt idx="1406">
                  <c:v>7.8114750163997382E-2</c:v>
                </c:pt>
                <c:pt idx="1407">
                  <c:v>7.8114750163997382E-2</c:v>
                </c:pt>
                <c:pt idx="1408">
                  <c:v>7.8114750163997382E-2</c:v>
                </c:pt>
                <c:pt idx="1409">
                  <c:v>7.8114750163997382E-2</c:v>
                </c:pt>
                <c:pt idx="1410">
                  <c:v>7.8114750163997382E-2</c:v>
                </c:pt>
                <c:pt idx="1411">
                  <c:v>7.8114750163997382E-2</c:v>
                </c:pt>
                <c:pt idx="1412">
                  <c:v>7.8114750163997382E-2</c:v>
                </c:pt>
                <c:pt idx="1413">
                  <c:v>7.8114750163997382E-2</c:v>
                </c:pt>
                <c:pt idx="1414">
                  <c:v>7.8114750163997382E-2</c:v>
                </c:pt>
                <c:pt idx="1415">
                  <c:v>7.8114750163997382E-2</c:v>
                </c:pt>
                <c:pt idx="1416">
                  <c:v>7.8114750163997382E-2</c:v>
                </c:pt>
                <c:pt idx="1417">
                  <c:v>7.8114750163997382E-2</c:v>
                </c:pt>
                <c:pt idx="1418">
                  <c:v>7.8114750163997382E-2</c:v>
                </c:pt>
                <c:pt idx="1419">
                  <c:v>7.8114750163997382E-2</c:v>
                </c:pt>
                <c:pt idx="1420">
                  <c:v>7.8114750163997382E-2</c:v>
                </c:pt>
                <c:pt idx="1421">
                  <c:v>7.8114750163997382E-2</c:v>
                </c:pt>
                <c:pt idx="1422">
                  <c:v>7.8114750163997382E-2</c:v>
                </c:pt>
                <c:pt idx="1423">
                  <c:v>7.8114750163997382E-2</c:v>
                </c:pt>
                <c:pt idx="1424">
                  <c:v>7.8114750163997382E-2</c:v>
                </c:pt>
                <c:pt idx="1425">
                  <c:v>7.8114750163997382E-2</c:v>
                </c:pt>
                <c:pt idx="1426">
                  <c:v>7.8114750163997382E-2</c:v>
                </c:pt>
                <c:pt idx="1427">
                  <c:v>7.8114750163997382E-2</c:v>
                </c:pt>
                <c:pt idx="1428">
                  <c:v>7.8114750163997382E-2</c:v>
                </c:pt>
                <c:pt idx="1429">
                  <c:v>7.8114750163997382E-2</c:v>
                </c:pt>
                <c:pt idx="1430">
                  <c:v>7.8114750163997382E-2</c:v>
                </c:pt>
                <c:pt idx="1431">
                  <c:v>7.8114750163997382E-2</c:v>
                </c:pt>
                <c:pt idx="1432">
                  <c:v>7.8114750163997382E-2</c:v>
                </c:pt>
                <c:pt idx="1433">
                  <c:v>7.8114750163997382E-2</c:v>
                </c:pt>
                <c:pt idx="1434">
                  <c:v>7.8114750163997382E-2</c:v>
                </c:pt>
                <c:pt idx="1435">
                  <c:v>7.8114750163997382E-2</c:v>
                </c:pt>
                <c:pt idx="1436">
                  <c:v>7.8114750163997382E-2</c:v>
                </c:pt>
                <c:pt idx="1437">
                  <c:v>7.8114750163997382E-2</c:v>
                </c:pt>
                <c:pt idx="1438">
                  <c:v>7.8114750163997382E-2</c:v>
                </c:pt>
                <c:pt idx="1439">
                  <c:v>7.8114750163997382E-2</c:v>
                </c:pt>
                <c:pt idx="1440">
                  <c:v>7.8114750163997382E-2</c:v>
                </c:pt>
                <c:pt idx="1441">
                  <c:v>7.8114750163997382E-2</c:v>
                </c:pt>
                <c:pt idx="1442">
                  <c:v>7.8114750163997382E-2</c:v>
                </c:pt>
                <c:pt idx="1443">
                  <c:v>7.8114750163997382E-2</c:v>
                </c:pt>
                <c:pt idx="1444">
                  <c:v>7.8114750163997382E-2</c:v>
                </c:pt>
                <c:pt idx="1445">
                  <c:v>7.8114750163997382E-2</c:v>
                </c:pt>
                <c:pt idx="1446">
                  <c:v>7.8114750163997382E-2</c:v>
                </c:pt>
                <c:pt idx="1447">
                  <c:v>7.8114750163997382E-2</c:v>
                </c:pt>
                <c:pt idx="1448">
                  <c:v>7.8114750163997382E-2</c:v>
                </c:pt>
                <c:pt idx="1449">
                  <c:v>7.8114750163997382E-2</c:v>
                </c:pt>
                <c:pt idx="1450">
                  <c:v>7.8114750163997382E-2</c:v>
                </c:pt>
                <c:pt idx="1451">
                  <c:v>7.8114750163997382E-2</c:v>
                </c:pt>
                <c:pt idx="1452">
                  <c:v>7.8114750163997382E-2</c:v>
                </c:pt>
                <c:pt idx="1453">
                  <c:v>7.8114750163997382E-2</c:v>
                </c:pt>
                <c:pt idx="1454">
                  <c:v>7.8114750163997382E-2</c:v>
                </c:pt>
                <c:pt idx="1455">
                  <c:v>7.8114750163997382E-2</c:v>
                </c:pt>
                <c:pt idx="1456">
                  <c:v>7.8114750163997382E-2</c:v>
                </c:pt>
                <c:pt idx="1457">
                  <c:v>7.8114750163997382E-2</c:v>
                </c:pt>
                <c:pt idx="1458">
                  <c:v>7.8114750163997382E-2</c:v>
                </c:pt>
                <c:pt idx="1459">
                  <c:v>7.8114750163997382E-2</c:v>
                </c:pt>
                <c:pt idx="1460">
                  <c:v>7.8114750163997382E-2</c:v>
                </c:pt>
                <c:pt idx="1461">
                  <c:v>7.8114750163997382E-2</c:v>
                </c:pt>
                <c:pt idx="1462">
                  <c:v>7.8114750163997382E-2</c:v>
                </c:pt>
                <c:pt idx="1463">
                  <c:v>7.8114750163997382E-2</c:v>
                </c:pt>
                <c:pt idx="1464">
                  <c:v>7.8114750163997382E-2</c:v>
                </c:pt>
                <c:pt idx="1465">
                  <c:v>7.8114750163997382E-2</c:v>
                </c:pt>
                <c:pt idx="1466">
                  <c:v>7.8114750163997382E-2</c:v>
                </c:pt>
                <c:pt idx="1467">
                  <c:v>7.8114750163997382E-2</c:v>
                </c:pt>
                <c:pt idx="1468">
                  <c:v>7.8114750163997382E-2</c:v>
                </c:pt>
                <c:pt idx="1469">
                  <c:v>7.8114750163997382E-2</c:v>
                </c:pt>
                <c:pt idx="1470">
                  <c:v>7.8114750163997382E-2</c:v>
                </c:pt>
                <c:pt idx="1471">
                  <c:v>7.8114750163997382E-2</c:v>
                </c:pt>
                <c:pt idx="1472">
                  <c:v>7.8114750163997382E-2</c:v>
                </c:pt>
                <c:pt idx="1473">
                  <c:v>7.8114750163997382E-2</c:v>
                </c:pt>
                <c:pt idx="1474">
                  <c:v>7.8114750163997382E-2</c:v>
                </c:pt>
                <c:pt idx="1475">
                  <c:v>7.8114750163997382E-2</c:v>
                </c:pt>
                <c:pt idx="1476">
                  <c:v>7.8114750163997382E-2</c:v>
                </c:pt>
                <c:pt idx="1477">
                  <c:v>7.8114750163997382E-2</c:v>
                </c:pt>
                <c:pt idx="1478">
                  <c:v>7.8114750163997382E-2</c:v>
                </c:pt>
                <c:pt idx="1479">
                  <c:v>7.8114750163997382E-2</c:v>
                </c:pt>
                <c:pt idx="1480">
                  <c:v>7.8114750163997382E-2</c:v>
                </c:pt>
                <c:pt idx="1481">
                  <c:v>7.8114750163997382E-2</c:v>
                </c:pt>
                <c:pt idx="1482">
                  <c:v>7.8114750163997382E-2</c:v>
                </c:pt>
                <c:pt idx="1483">
                  <c:v>7.8114750163997382E-2</c:v>
                </c:pt>
                <c:pt idx="1484">
                  <c:v>7.8114750163997382E-2</c:v>
                </c:pt>
                <c:pt idx="1485">
                  <c:v>7.8114750163997382E-2</c:v>
                </c:pt>
                <c:pt idx="1486">
                  <c:v>7.8114750163997382E-2</c:v>
                </c:pt>
                <c:pt idx="1487">
                  <c:v>7.8114750163997382E-2</c:v>
                </c:pt>
                <c:pt idx="1488">
                  <c:v>7.8114750163997382E-2</c:v>
                </c:pt>
                <c:pt idx="1489">
                  <c:v>7.8114750163997382E-2</c:v>
                </c:pt>
                <c:pt idx="1490">
                  <c:v>7.8114750163997382E-2</c:v>
                </c:pt>
                <c:pt idx="1491">
                  <c:v>7.8114750163997382E-2</c:v>
                </c:pt>
                <c:pt idx="1492">
                  <c:v>7.8114750163997382E-2</c:v>
                </c:pt>
                <c:pt idx="1493">
                  <c:v>7.8114750163997382E-2</c:v>
                </c:pt>
                <c:pt idx="1494">
                  <c:v>7.8114750163997382E-2</c:v>
                </c:pt>
                <c:pt idx="1495">
                  <c:v>7.8114750163997382E-2</c:v>
                </c:pt>
                <c:pt idx="1496">
                  <c:v>7.8114750163997382E-2</c:v>
                </c:pt>
                <c:pt idx="1497">
                  <c:v>7.8114750163997382E-2</c:v>
                </c:pt>
                <c:pt idx="1498">
                  <c:v>7.8114750163997382E-2</c:v>
                </c:pt>
                <c:pt idx="1499">
                  <c:v>7.8114750163997382E-2</c:v>
                </c:pt>
                <c:pt idx="1500">
                  <c:v>6.0141037743396096E-2</c:v>
                </c:pt>
                <c:pt idx="1501">
                  <c:v>6.0141037743396096E-2</c:v>
                </c:pt>
                <c:pt idx="1502">
                  <c:v>6.0141037743396096E-2</c:v>
                </c:pt>
                <c:pt idx="1503">
                  <c:v>6.0141037743396096E-2</c:v>
                </c:pt>
                <c:pt idx="1504">
                  <c:v>6.0141037743396096E-2</c:v>
                </c:pt>
                <c:pt idx="1505">
                  <c:v>6.0141037743396096E-2</c:v>
                </c:pt>
                <c:pt idx="1506">
                  <c:v>6.0141037743396096E-2</c:v>
                </c:pt>
                <c:pt idx="1507">
                  <c:v>6.0141037743396096E-2</c:v>
                </c:pt>
                <c:pt idx="1508">
                  <c:v>6.0141037743396096E-2</c:v>
                </c:pt>
                <c:pt idx="1509">
                  <c:v>6.0141037743396096E-2</c:v>
                </c:pt>
                <c:pt idx="1510">
                  <c:v>6.0141037743396096E-2</c:v>
                </c:pt>
                <c:pt idx="1511">
                  <c:v>6.0141037743396096E-2</c:v>
                </c:pt>
                <c:pt idx="1512">
                  <c:v>6.0141037743396096E-2</c:v>
                </c:pt>
                <c:pt idx="1513">
                  <c:v>6.0141037743396096E-2</c:v>
                </c:pt>
                <c:pt idx="1514">
                  <c:v>6.0141037743396096E-2</c:v>
                </c:pt>
                <c:pt idx="1515">
                  <c:v>6.0141037743396096E-2</c:v>
                </c:pt>
                <c:pt idx="1516">
                  <c:v>6.0141037743396096E-2</c:v>
                </c:pt>
                <c:pt idx="1517">
                  <c:v>6.0141037743396096E-2</c:v>
                </c:pt>
                <c:pt idx="1518">
                  <c:v>6.0141037743396096E-2</c:v>
                </c:pt>
                <c:pt idx="1519">
                  <c:v>6.0141037743396096E-2</c:v>
                </c:pt>
                <c:pt idx="1520">
                  <c:v>6.0141037743396096E-2</c:v>
                </c:pt>
                <c:pt idx="1521">
                  <c:v>6.0141037743396096E-2</c:v>
                </c:pt>
                <c:pt idx="1522">
                  <c:v>6.0141037743396096E-2</c:v>
                </c:pt>
                <c:pt idx="1523">
                  <c:v>6.0141037743396096E-2</c:v>
                </c:pt>
                <c:pt idx="1524">
                  <c:v>6.0141037743396096E-2</c:v>
                </c:pt>
                <c:pt idx="1525">
                  <c:v>6.0141037743396096E-2</c:v>
                </c:pt>
                <c:pt idx="1526">
                  <c:v>6.0141037743396096E-2</c:v>
                </c:pt>
                <c:pt idx="1527">
                  <c:v>6.0141037743396096E-2</c:v>
                </c:pt>
                <c:pt idx="1528">
                  <c:v>6.0141037743396096E-2</c:v>
                </c:pt>
                <c:pt idx="1529">
                  <c:v>6.0141037743396096E-2</c:v>
                </c:pt>
                <c:pt idx="1530">
                  <c:v>6.0141037743396096E-2</c:v>
                </c:pt>
                <c:pt idx="1531">
                  <c:v>6.0141037743396096E-2</c:v>
                </c:pt>
                <c:pt idx="1532">
                  <c:v>6.0141037743396096E-2</c:v>
                </c:pt>
                <c:pt idx="1533">
                  <c:v>6.0141037743396096E-2</c:v>
                </c:pt>
                <c:pt idx="1534">
                  <c:v>6.0141037743396096E-2</c:v>
                </c:pt>
                <c:pt idx="1535">
                  <c:v>6.0141037743396096E-2</c:v>
                </c:pt>
                <c:pt idx="1536">
                  <c:v>6.0141037743396096E-2</c:v>
                </c:pt>
                <c:pt idx="1537">
                  <c:v>6.0141037743396096E-2</c:v>
                </c:pt>
                <c:pt idx="1538">
                  <c:v>6.0141037743396096E-2</c:v>
                </c:pt>
                <c:pt idx="1539">
                  <c:v>6.0141037743396096E-2</c:v>
                </c:pt>
                <c:pt idx="1540">
                  <c:v>6.0141037743396096E-2</c:v>
                </c:pt>
                <c:pt idx="1541">
                  <c:v>6.0141037743396096E-2</c:v>
                </c:pt>
                <c:pt idx="1542">
                  <c:v>6.0141037743396096E-2</c:v>
                </c:pt>
                <c:pt idx="1543">
                  <c:v>6.0141037743396096E-2</c:v>
                </c:pt>
                <c:pt idx="1544">
                  <c:v>6.0141037743396096E-2</c:v>
                </c:pt>
                <c:pt idx="1545">
                  <c:v>6.0141037743396096E-2</c:v>
                </c:pt>
                <c:pt idx="1546">
                  <c:v>6.0141037743396096E-2</c:v>
                </c:pt>
                <c:pt idx="1547">
                  <c:v>6.0141037743396096E-2</c:v>
                </c:pt>
                <c:pt idx="1548">
                  <c:v>6.0141037743396096E-2</c:v>
                </c:pt>
                <c:pt idx="1549">
                  <c:v>6.0141037743396096E-2</c:v>
                </c:pt>
                <c:pt idx="1550">
                  <c:v>6.0141037743396096E-2</c:v>
                </c:pt>
                <c:pt idx="1551">
                  <c:v>6.0141037743396096E-2</c:v>
                </c:pt>
                <c:pt idx="1552">
                  <c:v>6.0141037743396096E-2</c:v>
                </c:pt>
                <c:pt idx="1553">
                  <c:v>6.0141037743396096E-2</c:v>
                </c:pt>
                <c:pt idx="1554">
                  <c:v>6.0141037743396096E-2</c:v>
                </c:pt>
                <c:pt idx="1555">
                  <c:v>6.0141037743396096E-2</c:v>
                </c:pt>
                <c:pt idx="1556">
                  <c:v>6.0141037743396096E-2</c:v>
                </c:pt>
                <c:pt idx="1557">
                  <c:v>6.0141037743396096E-2</c:v>
                </c:pt>
                <c:pt idx="1558">
                  <c:v>6.0141037743396096E-2</c:v>
                </c:pt>
                <c:pt idx="1559">
                  <c:v>6.0141037743396096E-2</c:v>
                </c:pt>
                <c:pt idx="1560">
                  <c:v>6.0141037743396096E-2</c:v>
                </c:pt>
                <c:pt idx="1561">
                  <c:v>6.0141037743396096E-2</c:v>
                </c:pt>
                <c:pt idx="1562">
                  <c:v>6.0141037743396096E-2</c:v>
                </c:pt>
                <c:pt idx="1563">
                  <c:v>6.0141037743396096E-2</c:v>
                </c:pt>
                <c:pt idx="1564">
                  <c:v>6.0141037743396096E-2</c:v>
                </c:pt>
                <c:pt idx="1565">
                  <c:v>6.0141037743396096E-2</c:v>
                </c:pt>
                <c:pt idx="1566">
                  <c:v>6.0141037743396096E-2</c:v>
                </c:pt>
                <c:pt idx="1567">
                  <c:v>6.0141037743396096E-2</c:v>
                </c:pt>
                <c:pt idx="1568">
                  <c:v>6.0141037743396096E-2</c:v>
                </c:pt>
                <c:pt idx="1569">
                  <c:v>6.0141037743396096E-2</c:v>
                </c:pt>
                <c:pt idx="1570">
                  <c:v>6.0141037743396096E-2</c:v>
                </c:pt>
                <c:pt idx="1571">
                  <c:v>6.0141037743396096E-2</c:v>
                </c:pt>
                <c:pt idx="1572">
                  <c:v>6.0141037743396096E-2</c:v>
                </c:pt>
                <c:pt idx="1573">
                  <c:v>6.0141037743396096E-2</c:v>
                </c:pt>
                <c:pt idx="1574">
                  <c:v>6.0141037743396096E-2</c:v>
                </c:pt>
                <c:pt idx="1575">
                  <c:v>6.0141037743396096E-2</c:v>
                </c:pt>
                <c:pt idx="1576">
                  <c:v>6.0141037743396096E-2</c:v>
                </c:pt>
                <c:pt idx="1577">
                  <c:v>6.0141037743396096E-2</c:v>
                </c:pt>
                <c:pt idx="1578">
                  <c:v>6.0141037743396096E-2</c:v>
                </c:pt>
                <c:pt idx="1579">
                  <c:v>6.0141037743396096E-2</c:v>
                </c:pt>
                <c:pt idx="1580">
                  <c:v>6.0141037743396096E-2</c:v>
                </c:pt>
                <c:pt idx="1581">
                  <c:v>6.0141037743396096E-2</c:v>
                </c:pt>
                <c:pt idx="1582">
                  <c:v>6.0141037743396096E-2</c:v>
                </c:pt>
                <c:pt idx="1583">
                  <c:v>6.0141037743396096E-2</c:v>
                </c:pt>
                <c:pt idx="1584">
                  <c:v>6.0141037743396096E-2</c:v>
                </c:pt>
                <c:pt idx="1585">
                  <c:v>6.0141037743396096E-2</c:v>
                </c:pt>
                <c:pt idx="1586">
                  <c:v>6.0141037743396096E-2</c:v>
                </c:pt>
                <c:pt idx="1587">
                  <c:v>6.0141037743396096E-2</c:v>
                </c:pt>
                <c:pt idx="1588">
                  <c:v>6.0141037743396096E-2</c:v>
                </c:pt>
                <c:pt idx="1589">
                  <c:v>6.0141037743396096E-2</c:v>
                </c:pt>
                <c:pt idx="1590">
                  <c:v>6.0141037743396096E-2</c:v>
                </c:pt>
                <c:pt idx="1591">
                  <c:v>6.0141037743396096E-2</c:v>
                </c:pt>
                <c:pt idx="1592">
                  <c:v>6.0141037743396096E-2</c:v>
                </c:pt>
                <c:pt idx="1593">
                  <c:v>6.0141037743396096E-2</c:v>
                </c:pt>
                <c:pt idx="1594">
                  <c:v>6.0141037743396096E-2</c:v>
                </c:pt>
                <c:pt idx="1595">
                  <c:v>6.0141037743396096E-2</c:v>
                </c:pt>
                <c:pt idx="1596">
                  <c:v>6.0141037743396096E-2</c:v>
                </c:pt>
                <c:pt idx="1597">
                  <c:v>6.0141037743396096E-2</c:v>
                </c:pt>
                <c:pt idx="1598">
                  <c:v>6.0141037743396096E-2</c:v>
                </c:pt>
                <c:pt idx="1599">
                  <c:v>6.0141037743396096E-2</c:v>
                </c:pt>
                <c:pt idx="1600">
                  <c:v>3.7043407305483111E-2</c:v>
                </c:pt>
                <c:pt idx="1601">
                  <c:v>3.7043407305483111E-2</c:v>
                </c:pt>
                <c:pt idx="1602">
                  <c:v>3.7043407305483111E-2</c:v>
                </c:pt>
                <c:pt idx="1603">
                  <c:v>3.7043407305483111E-2</c:v>
                </c:pt>
                <c:pt idx="1604">
                  <c:v>3.7043407305483111E-2</c:v>
                </c:pt>
                <c:pt idx="1605">
                  <c:v>3.7043407305483111E-2</c:v>
                </c:pt>
                <c:pt idx="1606">
                  <c:v>3.7043407305483111E-2</c:v>
                </c:pt>
                <c:pt idx="1607">
                  <c:v>3.7043407305483111E-2</c:v>
                </c:pt>
                <c:pt idx="1608">
                  <c:v>3.7043407305483111E-2</c:v>
                </c:pt>
                <c:pt idx="1609">
                  <c:v>3.7043407305483111E-2</c:v>
                </c:pt>
                <c:pt idx="1610">
                  <c:v>3.7043407305483111E-2</c:v>
                </c:pt>
                <c:pt idx="1611">
                  <c:v>3.7043407305483111E-2</c:v>
                </c:pt>
                <c:pt idx="1612">
                  <c:v>3.7043407305483111E-2</c:v>
                </c:pt>
                <c:pt idx="1613">
                  <c:v>3.7043407305483111E-2</c:v>
                </c:pt>
                <c:pt idx="1614">
                  <c:v>3.7043407305483111E-2</c:v>
                </c:pt>
                <c:pt idx="1615">
                  <c:v>3.7043407305483111E-2</c:v>
                </c:pt>
                <c:pt idx="1616">
                  <c:v>3.7043407305483111E-2</c:v>
                </c:pt>
                <c:pt idx="1617">
                  <c:v>3.7043407305483111E-2</c:v>
                </c:pt>
                <c:pt idx="1618">
                  <c:v>3.7043407305483111E-2</c:v>
                </c:pt>
                <c:pt idx="1619">
                  <c:v>3.7043407305483111E-2</c:v>
                </c:pt>
                <c:pt idx="1620">
                  <c:v>3.7043407305483111E-2</c:v>
                </c:pt>
                <c:pt idx="1621">
                  <c:v>3.7043407305483111E-2</c:v>
                </c:pt>
                <c:pt idx="1622">
                  <c:v>3.7043407305483111E-2</c:v>
                </c:pt>
                <c:pt idx="1623">
                  <c:v>3.7043407305483111E-2</c:v>
                </c:pt>
                <c:pt idx="1624">
                  <c:v>3.7043407305483111E-2</c:v>
                </c:pt>
                <c:pt idx="1625">
                  <c:v>3.7043407305483111E-2</c:v>
                </c:pt>
                <c:pt idx="1626">
                  <c:v>3.7043407305483111E-2</c:v>
                </c:pt>
                <c:pt idx="1627">
                  <c:v>3.7043407305483111E-2</c:v>
                </c:pt>
                <c:pt idx="1628">
                  <c:v>3.7043407305483111E-2</c:v>
                </c:pt>
                <c:pt idx="1629">
                  <c:v>3.7043407305483111E-2</c:v>
                </c:pt>
                <c:pt idx="1630">
                  <c:v>3.7043407305483111E-2</c:v>
                </c:pt>
                <c:pt idx="1631">
                  <c:v>3.7043407305483111E-2</c:v>
                </c:pt>
                <c:pt idx="1632">
                  <c:v>3.7043407305483111E-2</c:v>
                </c:pt>
                <c:pt idx="1633">
                  <c:v>3.7043407305483111E-2</c:v>
                </c:pt>
                <c:pt idx="1634">
                  <c:v>3.7043407305483111E-2</c:v>
                </c:pt>
                <c:pt idx="1635">
                  <c:v>3.7043407305483111E-2</c:v>
                </c:pt>
                <c:pt idx="1636">
                  <c:v>3.7043407305483111E-2</c:v>
                </c:pt>
                <c:pt idx="1637">
                  <c:v>3.7043407305483111E-2</c:v>
                </c:pt>
                <c:pt idx="1638">
                  <c:v>3.7043407305483111E-2</c:v>
                </c:pt>
                <c:pt idx="1639">
                  <c:v>3.7043407305483111E-2</c:v>
                </c:pt>
                <c:pt idx="1640">
                  <c:v>3.7043407305483111E-2</c:v>
                </c:pt>
                <c:pt idx="1641">
                  <c:v>3.7043407305483111E-2</c:v>
                </c:pt>
                <c:pt idx="1642">
                  <c:v>3.7043407305483111E-2</c:v>
                </c:pt>
                <c:pt idx="1643">
                  <c:v>3.7043407305483111E-2</c:v>
                </c:pt>
                <c:pt idx="1644">
                  <c:v>3.7043407305483111E-2</c:v>
                </c:pt>
                <c:pt idx="1645">
                  <c:v>3.7043407305483111E-2</c:v>
                </c:pt>
                <c:pt idx="1646">
                  <c:v>3.7043407305483111E-2</c:v>
                </c:pt>
                <c:pt idx="1647">
                  <c:v>3.7043407305483111E-2</c:v>
                </c:pt>
                <c:pt idx="1648">
                  <c:v>3.7043407305483111E-2</c:v>
                </c:pt>
                <c:pt idx="1649">
                  <c:v>3.7043407305483111E-2</c:v>
                </c:pt>
                <c:pt idx="1650">
                  <c:v>3.7043407305483111E-2</c:v>
                </c:pt>
                <c:pt idx="1651">
                  <c:v>3.7043407305483111E-2</c:v>
                </c:pt>
                <c:pt idx="1652">
                  <c:v>3.7043407305483111E-2</c:v>
                </c:pt>
                <c:pt idx="1653">
                  <c:v>3.7043407305483111E-2</c:v>
                </c:pt>
                <c:pt idx="1654">
                  <c:v>3.7043407305483111E-2</c:v>
                </c:pt>
                <c:pt idx="1655">
                  <c:v>3.7043407305483111E-2</c:v>
                </c:pt>
                <c:pt idx="1656">
                  <c:v>3.7043407305483111E-2</c:v>
                </c:pt>
                <c:pt idx="1657">
                  <c:v>3.7043407305483111E-2</c:v>
                </c:pt>
                <c:pt idx="1658">
                  <c:v>3.7043407305483111E-2</c:v>
                </c:pt>
                <c:pt idx="1659">
                  <c:v>3.7043407305483111E-2</c:v>
                </c:pt>
                <c:pt idx="1660">
                  <c:v>3.7043407305483111E-2</c:v>
                </c:pt>
                <c:pt idx="1661">
                  <c:v>3.7043407305483111E-2</c:v>
                </c:pt>
                <c:pt idx="1662">
                  <c:v>3.7043407305483111E-2</c:v>
                </c:pt>
                <c:pt idx="1663">
                  <c:v>3.7043407305483111E-2</c:v>
                </c:pt>
                <c:pt idx="1664">
                  <c:v>3.7043407305483111E-2</c:v>
                </c:pt>
                <c:pt idx="1665">
                  <c:v>3.7043407305483111E-2</c:v>
                </c:pt>
                <c:pt idx="1666">
                  <c:v>3.7043407305483111E-2</c:v>
                </c:pt>
                <c:pt idx="1667">
                  <c:v>3.7043407305483111E-2</c:v>
                </c:pt>
                <c:pt idx="1668">
                  <c:v>3.7043407305483111E-2</c:v>
                </c:pt>
                <c:pt idx="1669">
                  <c:v>3.7043407305483111E-2</c:v>
                </c:pt>
                <c:pt idx="1670">
                  <c:v>3.7043407305483111E-2</c:v>
                </c:pt>
                <c:pt idx="1671">
                  <c:v>3.7043407305483111E-2</c:v>
                </c:pt>
                <c:pt idx="1672">
                  <c:v>3.7043407305483111E-2</c:v>
                </c:pt>
                <c:pt idx="1673">
                  <c:v>3.7043407305483111E-2</c:v>
                </c:pt>
                <c:pt idx="1674">
                  <c:v>3.7043407305483111E-2</c:v>
                </c:pt>
                <c:pt idx="1675">
                  <c:v>3.7043407305483111E-2</c:v>
                </c:pt>
                <c:pt idx="1676">
                  <c:v>3.7043407305483111E-2</c:v>
                </c:pt>
                <c:pt idx="1677">
                  <c:v>3.7043407305483111E-2</c:v>
                </c:pt>
                <c:pt idx="1678">
                  <c:v>3.7043407305483111E-2</c:v>
                </c:pt>
                <c:pt idx="1679">
                  <c:v>3.7043407305483111E-2</c:v>
                </c:pt>
                <c:pt idx="1680">
                  <c:v>3.7043407305483111E-2</c:v>
                </c:pt>
                <c:pt idx="1681">
                  <c:v>3.7043407305483111E-2</c:v>
                </c:pt>
                <c:pt idx="1682">
                  <c:v>3.7043407305483111E-2</c:v>
                </c:pt>
                <c:pt idx="1683">
                  <c:v>3.7043407305483111E-2</c:v>
                </c:pt>
                <c:pt idx="1684">
                  <c:v>3.7043407305483111E-2</c:v>
                </c:pt>
                <c:pt idx="1685">
                  <c:v>3.7043407305483111E-2</c:v>
                </c:pt>
                <c:pt idx="1686">
                  <c:v>3.7043407305483111E-2</c:v>
                </c:pt>
                <c:pt idx="1687">
                  <c:v>3.7043407305483111E-2</c:v>
                </c:pt>
                <c:pt idx="1688">
                  <c:v>3.7043407305483111E-2</c:v>
                </c:pt>
                <c:pt idx="1689">
                  <c:v>3.7043407305483111E-2</c:v>
                </c:pt>
                <c:pt idx="1690">
                  <c:v>3.7043407305483111E-2</c:v>
                </c:pt>
                <c:pt idx="1691">
                  <c:v>3.7043407305483111E-2</c:v>
                </c:pt>
                <c:pt idx="1692">
                  <c:v>3.7043407305483111E-2</c:v>
                </c:pt>
                <c:pt idx="1693">
                  <c:v>3.7043407305483111E-2</c:v>
                </c:pt>
                <c:pt idx="1694">
                  <c:v>3.7043407305483111E-2</c:v>
                </c:pt>
                <c:pt idx="1695">
                  <c:v>3.7043407305483111E-2</c:v>
                </c:pt>
                <c:pt idx="1696">
                  <c:v>3.7043407305483111E-2</c:v>
                </c:pt>
                <c:pt idx="1697">
                  <c:v>3.7043407305483111E-2</c:v>
                </c:pt>
                <c:pt idx="1698">
                  <c:v>3.7043407305483111E-2</c:v>
                </c:pt>
                <c:pt idx="1699">
                  <c:v>3.7043407305483111E-2</c:v>
                </c:pt>
                <c:pt idx="1700">
                  <c:v>7.2638837778595516E-3</c:v>
                </c:pt>
                <c:pt idx="1701">
                  <c:v>7.2638837778595516E-3</c:v>
                </c:pt>
                <c:pt idx="1702">
                  <c:v>7.2638837778595516E-3</c:v>
                </c:pt>
                <c:pt idx="1703">
                  <c:v>7.2638837778595516E-3</c:v>
                </c:pt>
                <c:pt idx="1704">
                  <c:v>7.2638837778595516E-3</c:v>
                </c:pt>
                <c:pt idx="1705">
                  <c:v>7.2638837778595516E-3</c:v>
                </c:pt>
                <c:pt idx="1706">
                  <c:v>7.2638837778595516E-3</c:v>
                </c:pt>
                <c:pt idx="1707">
                  <c:v>7.2638837778595516E-3</c:v>
                </c:pt>
                <c:pt idx="1708">
                  <c:v>7.2638837778595516E-3</c:v>
                </c:pt>
                <c:pt idx="1709">
                  <c:v>7.2638837778595516E-3</c:v>
                </c:pt>
                <c:pt idx="1710">
                  <c:v>7.2638837778595516E-3</c:v>
                </c:pt>
                <c:pt idx="1711">
                  <c:v>7.2638837778595516E-3</c:v>
                </c:pt>
                <c:pt idx="1712">
                  <c:v>7.2638837778595516E-3</c:v>
                </c:pt>
                <c:pt idx="1713">
                  <c:v>7.2638837778595516E-3</c:v>
                </c:pt>
                <c:pt idx="1714">
                  <c:v>7.2638837778595516E-3</c:v>
                </c:pt>
                <c:pt idx="1715">
                  <c:v>7.2638837778595516E-3</c:v>
                </c:pt>
                <c:pt idx="1716">
                  <c:v>7.2638837778595516E-3</c:v>
                </c:pt>
                <c:pt idx="1717">
                  <c:v>7.2638837778595516E-3</c:v>
                </c:pt>
                <c:pt idx="1718">
                  <c:v>7.2638837778595516E-3</c:v>
                </c:pt>
                <c:pt idx="1719">
                  <c:v>7.2638837778595516E-3</c:v>
                </c:pt>
                <c:pt idx="1720">
                  <c:v>7.2638837778595516E-3</c:v>
                </c:pt>
                <c:pt idx="1721">
                  <c:v>7.2638837778595516E-3</c:v>
                </c:pt>
                <c:pt idx="1722">
                  <c:v>7.2638837778595516E-3</c:v>
                </c:pt>
                <c:pt idx="1723">
                  <c:v>7.2638837778595516E-3</c:v>
                </c:pt>
                <c:pt idx="1724">
                  <c:v>7.2638837778595516E-3</c:v>
                </c:pt>
                <c:pt idx="1725">
                  <c:v>7.2638837778595516E-3</c:v>
                </c:pt>
                <c:pt idx="1726">
                  <c:v>7.2638837778595516E-3</c:v>
                </c:pt>
                <c:pt idx="1727">
                  <c:v>7.2638837778595516E-3</c:v>
                </c:pt>
                <c:pt idx="1728">
                  <c:v>7.2638837778595516E-3</c:v>
                </c:pt>
                <c:pt idx="1729">
                  <c:v>7.2638837778595516E-3</c:v>
                </c:pt>
                <c:pt idx="1730">
                  <c:v>7.2638837778595516E-3</c:v>
                </c:pt>
                <c:pt idx="1731">
                  <c:v>7.2638837778595516E-3</c:v>
                </c:pt>
                <c:pt idx="1732">
                  <c:v>7.2638837778595516E-3</c:v>
                </c:pt>
                <c:pt idx="1733">
                  <c:v>7.2638837778595516E-3</c:v>
                </c:pt>
                <c:pt idx="1734">
                  <c:v>7.2638837778595516E-3</c:v>
                </c:pt>
                <c:pt idx="1735">
                  <c:v>7.2638837778595516E-3</c:v>
                </c:pt>
                <c:pt idx="1736">
                  <c:v>7.2638837778595516E-3</c:v>
                </c:pt>
                <c:pt idx="1737">
                  <c:v>7.2638837778595516E-3</c:v>
                </c:pt>
                <c:pt idx="1738">
                  <c:v>7.2638837778595516E-3</c:v>
                </c:pt>
                <c:pt idx="1739">
                  <c:v>7.2638837778595516E-3</c:v>
                </c:pt>
                <c:pt idx="1740">
                  <c:v>7.2638837778595516E-3</c:v>
                </c:pt>
                <c:pt idx="1741">
                  <c:v>7.2638837778595516E-3</c:v>
                </c:pt>
                <c:pt idx="1742">
                  <c:v>7.2638837778595516E-3</c:v>
                </c:pt>
                <c:pt idx="1743">
                  <c:v>7.2638837778595516E-3</c:v>
                </c:pt>
                <c:pt idx="1744">
                  <c:v>7.2638837778595516E-3</c:v>
                </c:pt>
                <c:pt idx="1745">
                  <c:v>7.2638837778595516E-3</c:v>
                </c:pt>
                <c:pt idx="1746">
                  <c:v>7.2638837778595516E-3</c:v>
                </c:pt>
                <c:pt idx="1747">
                  <c:v>7.2638837778595516E-3</c:v>
                </c:pt>
                <c:pt idx="1748">
                  <c:v>7.2638837778595516E-3</c:v>
                </c:pt>
                <c:pt idx="1749">
                  <c:v>7.2638837778595516E-3</c:v>
                </c:pt>
                <c:pt idx="1750">
                  <c:v>7.2638837778595516E-3</c:v>
                </c:pt>
                <c:pt idx="1751">
                  <c:v>7.2638837778595516E-3</c:v>
                </c:pt>
                <c:pt idx="1752">
                  <c:v>7.2638837778595516E-3</c:v>
                </c:pt>
                <c:pt idx="1753">
                  <c:v>7.2638837778595516E-3</c:v>
                </c:pt>
                <c:pt idx="1754">
                  <c:v>7.2638837778595516E-3</c:v>
                </c:pt>
                <c:pt idx="1755">
                  <c:v>7.2638837778595516E-3</c:v>
                </c:pt>
                <c:pt idx="1756">
                  <c:v>7.2638837778595516E-3</c:v>
                </c:pt>
                <c:pt idx="1757">
                  <c:v>7.2638837778595516E-3</c:v>
                </c:pt>
                <c:pt idx="1758">
                  <c:v>7.2638837778595516E-3</c:v>
                </c:pt>
                <c:pt idx="1759">
                  <c:v>7.2638837778595516E-3</c:v>
                </c:pt>
                <c:pt idx="1760">
                  <c:v>7.2638837778595516E-3</c:v>
                </c:pt>
                <c:pt idx="1761">
                  <c:v>7.2638837778595516E-3</c:v>
                </c:pt>
                <c:pt idx="1762">
                  <c:v>7.2638837778595516E-3</c:v>
                </c:pt>
                <c:pt idx="1763">
                  <c:v>7.2638837778595516E-3</c:v>
                </c:pt>
                <c:pt idx="1764">
                  <c:v>7.2638837778595516E-3</c:v>
                </c:pt>
                <c:pt idx="1765">
                  <c:v>7.2638837778595516E-3</c:v>
                </c:pt>
                <c:pt idx="1766">
                  <c:v>7.2638837778595516E-3</c:v>
                </c:pt>
                <c:pt idx="1767">
                  <c:v>7.2638837778595516E-3</c:v>
                </c:pt>
                <c:pt idx="1768">
                  <c:v>7.2638837778595516E-3</c:v>
                </c:pt>
                <c:pt idx="1769">
                  <c:v>7.2638837778595516E-3</c:v>
                </c:pt>
                <c:pt idx="1770">
                  <c:v>7.2638837778595516E-3</c:v>
                </c:pt>
                <c:pt idx="1771">
                  <c:v>7.2638837778595516E-3</c:v>
                </c:pt>
                <c:pt idx="1772">
                  <c:v>7.2638837778595516E-3</c:v>
                </c:pt>
                <c:pt idx="1773">
                  <c:v>7.2638837778595516E-3</c:v>
                </c:pt>
                <c:pt idx="1774">
                  <c:v>7.2638837778595516E-3</c:v>
                </c:pt>
                <c:pt idx="1775">
                  <c:v>7.2638837778595516E-3</c:v>
                </c:pt>
                <c:pt idx="1776">
                  <c:v>7.2638837778595516E-3</c:v>
                </c:pt>
                <c:pt idx="1777">
                  <c:v>7.2638837778595516E-3</c:v>
                </c:pt>
                <c:pt idx="1778">
                  <c:v>7.2638837778595516E-3</c:v>
                </c:pt>
                <c:pt idx="1779">
                  <c:v>7.2638837778595516E-3</c:v>
                </c:pt>
                <c:pt idx="1780">
                  <c:v>7.2638837778595516E-3</c:v>
                </c:pt>
                <c:pt idx="1781">
                  <c:v>7.2638837778595516E-3</c:v>
                </c:pt>
                <c:pt idx="1782">
                  <c:v>7.2638837778595516E-3</c:v>
                </c:pt>
                <c:pt idx="1783">
                  <c:v>7.2638837778595516E-3</c:v>
                </c:pt>
                <c:pt idx="1784">
                  <c:v>7.2638837778595516E-3</c:v>
                </c:pt>
                <c:pt idx="1785">
                  <c:v>7.2638837778595516E-3</c:v>
                </c:pt>
                <c:pt idx="1786">
                  <c:v>7.2638837778595516E-3</c:v>
                </c:pt>
                <c:pt idx="1787">
                  <c:v>7.2638837778595516E-3</c:v>
                </c:pt>
                <c:pt idx="1788">
                  <c:v>7.2638837778595516E-3</c:v>
                </c:pt>
                <c:pt idx="1789">
                  <c:v>7.2638837778595516E-3</c:v>
                </c:pt>
                <c:pt idx="1790">
                  <c:v>7.2638837778595516E-3</c:v>
                </c:pt>
                <c:pt idx="1791">
                  <c:v>7.2638837778595516E-3</c:v>
                </c:pt>
                <c:pt idx="1792">
                  <c:v>7.2638837778595516E-3</c:v>
                </c:pt>
                <c:pt idx="1793">
                  <c:v>7.2638837778595516E-3</c:v>
                </c:pt>
                <c:pt idx="1794">
                  <c:v>7.2638837778595516E-3</c:v>
                </c:pt>
                <c:pt idx="1795">
                  <c:v>7.2638837778595516E-3</c:v>
                </c:pt>
                <c:pt idx="1796">
                  <c:v>7.2638837778595516E-3</c:v>
                </c:pt>
                <c:pt idx="1797">
                  <c:v>7.2638837778595516E-3</c:v>
                </c:pt>
                <c:pt idx="1798">
                  <c:v>7.2638837778595516E-3</c:v>
                </c:pt>
                <c:pt idx="1799">
                  <c:v>7.2638837778595516E-3</c:v>
                </c:pt>
                <c:pt idx="1800">
                  <c:v>2.1699652805555118E-3</c:v>
                </c:pt>
                <c:pt idx="1801">
                  <c:v>2.1699652805555118E-3</c:v>
                </c:pt>
                <c:pt idx="1802">
                  <c:v>2.1699652805555118E-3</c:v>
                </c:pt>
                <c:pt idx="1803">
                  <c:v>2.1699652805555118E-3</c:v>
                </c:pt>
                <c:pt idx="1804">
                  <c:v>2.1699652805555118E-3</c:v>
                </c:pt>
                <c:pt idx="1805">
                  <c:v>2.1699652805555118E-3</c:v>
                </c:pt>
                <c:pt idx="1806">
                  <c:v>2.1699652805555118E-3</c:v>
                </c:pt>
                <c:pt idx="1807">
                  <c:v>2.1699652805555118E-3</c:v>
                </c:pt>
                <c:pt idx="1808">
                  <c:v>2.1699652805555118E-3</c:v>
                </c:pt>
                <c:pt idx="1809">
                  <c:v>2.1699652805555118E-3</c:v>
                </c:pt>
                <c:pt idx="1810">
                  <c:v>2.1699652805555118E-3</c:v>
                </c:pt>
                <c:pt idx="1811">
                  <c:v>2.1699652805555118E-3</c:v>
                </c:pt>
                <c:pt idx="1812">
                  <c:v>2.1699652805555118E-3</c:v>
                </c:pt>
                <c:pt idx="1813">
                  <c:v>2.1699652805555118E-3</c:v>
                </c:pt>
                <c:pt idx="1814">
                  <c:v>2.1699652805555118E-3</c:v>
                </c:pt>
                <c:pt idx="1815">
                  <c:v>2.1699652805555118E-3</c:v>
                </c:pt>
                <c:pt idx="1816">
                  <c:v>2.1699652805555118E-3</c:v>
                </c:pt>
                <c:pt idx="1817">
                  <c:v>2.1699652805555118E-3</c:v>
                </c:pt>
                <c:pt idx="1818">
                  <c:v>2.1699652805555118E-3</c:v>
                </c:pt>
                <c:pt idx="1819">
                  <c:v>2.1699652805555118E-3</c:v>
                </c:pt>
                <c:pt idx="1820">
                  <c:v>2.1699652805555118E-3</c:v>
                </c:pt>
                <c:pt idx="1821">
                  <c:v>2.1699652805555118E-3</c:v>
                </c:pt>
                <c:pt idx="1822">
                  <c:v>2.1699652805555118E-3</c:v>
                </c:pt>
                <c:pt idx="1823">
                  <c:v>2.1699652805555118E-3</c:v>
                </c:pt>
                <c:pt idx="1824">
                  <c:v>2.1699652805555118E-3</c:v>
                </c:pt>
                <c:pt idx="1825">
                  <c:v>2.1699652805555118E-3</c:v>
                </c:pt>
                <c:pt idx="1826">
                  <c:v>2.1699652805555118E-3</c:v>
                </c:pt>
                <c:pt idx="1827">
                  <c:v>2.1699652805555118E-3</c:v>
                </c:pt>
                <c:pt idx="1828">
                  <c:v>2.1699652805555118E-3</c:v>
                </c:pt>
                <c:pt idx="1829">
                  <c:v>2.1699652805555118E-3</c:v>
                </c:pt>
                <c:pt idx="1830">
                  <c:v>2.1699652805555118E-3</c:v>
                </c:pt>
                <c:pt idx="1831">
                  <c:v>2.1699652805555118E-3</c:v>
                </c:pt>
                <c:pt idx="1832">
                  <c:v>2.1699652805555118E-3</c:v>
                </c:pt>
                <c:pt idx="1833">
                  <c:v>2.1699652805555118E-3</c:v>
                </c:pt>
                <c:pt idx="1834">
                  <c:v>2.1699652805555118E-3</c:v>
                </c:pt>
                <c:pt idx="1835">
                  <c:v>2.1699652805555118E-3</c:v>
                </c:pt>
                <c:pt idx="1836">
                  <c:v>2.1699652805555118E-3</c:v>
                </c:pt>
                <c:pt idx="1837">
                  <c:v>2.1699652805555118E-3</c:v>
                </c:pt>
                <c:pt idx="1838">
                  <c:v>2.1699652805555118E-3</c:v>
                </c:pt>
                <c:pt idx="1839">
                  <c:v>2.1699652805555118E-3</c:v>
                </c:pt>
                <c:pt idx="1840">
                  <c:v>2.1699652805555118E-3</c:v>
                </c:pt>
                <c:pt idx="1841">
                  <c:v>2.1699652805555118E-3</c:v>
                </c:pt>
                <c:pt idx="1842">
                  <c:v>2.1699652805555118E-3</c:v>
                </c:pt>
                <c:pt idx="1843">
                  <c:v>2.1699652805555118E-3</c:v>
                </c:pt>
                <c:pt idx="1844">
                  <c:v>2.1699652805555118E-3</c:v>
                </c:pt>
                <c:pt idx="1845">
                  <c:v>2.1699652805555118E-3</c:v>
                </c:pt>
                <c:pt idx="1846">
                  <c:v>2.1699652805555118E-3</c:v>
                </c:pt>
                <c:pt idx="1847">
                  <c:v>2.1699652805555118E-3</c:v>
                </c:pt>
                <c:pt idx="1848">
                  <c:v>2.1699652805555118E-3</c:v>
                </c:pt>
                <c:pt idx="1849">
                  <c:v>2.1699652805555118E-3</c:v>
                </c:pt>
                <c:pt idx="1850">
                  <c:v>2.1699652805555118E-3</c:v>
                </c:pt>
                <c:pt idx="1851">
                  <c:v>2.1699652805555118E-3</c:v>
                </c:pt>
                <c:pt idx="1852">
                  <c:v>2.1699652805555118E-3</c:v>
                </c:pt>
                <c:pt idx="1853">
                  <c:v>2.1699652805555118E-3</c:v>
                </c:pt>
                <c:pt idx="1854">
                  <c:v>2.1699652805555118E-3</c:v>
                </c:pt>
                <c:pt idx="1855">
                  <c:v>2.1699652805555118E-3</c:v>
                </c:pt>
                <c:pt idx="1856">
                  <c:v>2.1699652805555118E-3</c:v>
                </c:pt>
                <c:pt idx="1857">
                  <c:v>2.1699652805555118E-3</c:v>
                </c:pt>
                <c:pt idx="1858">
                  <c:v>2.1699652805555118E-3</c:v>
                </c:pt>
                <c:pt idx="1859">
                  <c:v>2.1699652805555118E-3</c:v>
                </c:pt>
                <c:pt idx="1860">
                  <c:v>2.1699652805555118E-3</c:v>
                </c:pt>
                <c:pt idx="1861">
                  <c:v>2.1699652805555118E-3</c:v>
                </c:pt>
                <c:pt idx="1862">
                  <c:v>2.1699652805555118E-3</c:v>
                </c:pt>
                <c:pt idx="1863">
                  <c:v>2.1699652805555118E-3</c:v>
                </c:pt>
                <c:pt idx="1864">
                  <c:v>2.1699652805555118E-3</c:v>
                </c:pt>
                <c:pt idx="1865">
                  <c:v>2.1699652805555118E-3</c:v>
                </c:pt>
                <c:pt idx="1866">
                  <c:v>2.1699652805555118E-3</c:v>
                </c:pt>
                <c:pt idx="1867">
                  <c:v>2.1699652805555118E-3</c:v>
                </c:pt>
                <c:pt idx="1868">
                  <c:v>2.1699652805555118E-3</c:v>
                </c:pt>
                <c:pt idx="1869">
                  <c:v>2.1699652805555118E-3</c:v>
                </c:pt>
                <c:pt idx="1870">
                  <c:v>2.1699652805555118E-3</c:v>
                </c:pt>
                <c:pt idx="1871">
                  <c:v>2.1699652805555118E-3</c:v>
                </c:pt>
                <c:pt idx="1872">
                  <c:v>2.1699652805555118E-3</c:v>
                </c:pt>
                <c:pt idx="1873">
                  <c:v>2.1699652805555118E-3</c:v>
                </c:pt>
                <c:pt idx="1874">
                  <c:v>2.1699652805555118E-3</c:v>
                </c:pt>
                <c:pt idx="1875">
                  <c:v>2.1699652805555118E-3</c:v>
                </c:pt>
                <c:pt idx="1876">
                  <c:v>2.1699652805555118E-3</c:v>
                </c:pt>
                <c:pt idx="1877">
                  <c:v>2.1699652805555118E-3</c:v>
                </c:pt>
                <c:pt idx="1878">
                  <c:v>2.1699652805555118E-3</c:v>
                </c:pt>
                <c:pt idx="1879">
                  <c:v>2.1699652805555118E-3</c:v>
                </c:pt>
                <c:pt idx="1880">
                  <c:v>2.1699652805555118E-3</c:v>
                </c:pt>
                <c:pt idx="1881">
                  <c:v>2.1699652805555118E-3</c:v>
                </c:pt>
                <c:pt idx="1882">
                  <c:v>2.1699652805555118E-3</c:v>
                </c:pt>
                <c:pt idx="1883">
                  <c:v>2.1699652805555118E-3</c:v>
                </c:pt>
                <c:pt idx="1884">
                  <c:v>2.1699652805555118E-3</c:v>
                </c:pt>
                <c:pt idx="1885">
                  <c:v>2.1699652805555118E-3</c:v>
                </c:pt>
                <c:pt idx="1886">
                  <c:v>2.1699652805555118E-3</c:v>
                </c:pt>
                <c:pt idx="1887">
                  <c:v>2.1699652805555118E-3</c:v>
                </c:pt>
                <c:pt idx="1888">
                  <c:v>2.1699652805555118E-3</c:v>
                </c:pt>
                <c:pt idx="1889">
                  <c:v>2.1699652805555118E-3</c:v>
                </c:pt>
                <c:pt idx="1890">
                  <c:v>2.1699652805555118E-3</c:v>
                </c:pt>
                <c:pt idx="1891">
                  <c:v>2.1699652805555118E-3</c:v>
                </c:pt>
                <c:pt idx="1892">
                  <c:v>2.1699652805555118E-3</c:v>
                </c:pt>
                <c:pt idx="1893">
                  <c:v>2.1699652805555118E-3</c:v>
                </c:pt>
                <c:pt idx="1894">
                  <c:v>2.1699652805555118E-3</c:v>
                </c:pt>
                <c:pt idx="1895">
                  <c:v>2.1699652805555118E-3</c:v>
                </c:pt>
                <c:pt idx="1896">
                  <c:v>2.1699652805555118E-3</c:v>
                </c:pt>
                <c:pt idx="1897">
                  <c:v>2.1699652805555118E-3</c:v>
                </c:pt>
                <c:pt idx="1898">
                  <c:v>2.1699652805555118E-3</c:v>
                </c:pt>
                <c:pt idx="1899">
                  <c:v>2.1699652805555118E-3</c:v>
                </c:pt>
                <c:pt idx="1900">
                  <c:v>2.1919649285611431E-3</c:v>
                </c:pt>
                <c:pt idx="1901">
                  <c:v>2.1919649285611431E-3</c:v>
                </c:pt>
                <c:pt idx="1902">
                  <c:v>2.1919649285611431E-3</c:v>
                </c:pt>
                <c:pt idx="1903">
                  <c:v>2.1919649285611431E-3</c:v>
                </c:pt>
                <c:pt idx="1904">
                  <c:v>2.1919649285611431E-3</c:v>
                </c:pt>
                <c:pt idx="1905">
                  <c:v>2.1919649285611431E-3</c:v>
                </c:pt>
                <c:pt idx="1906">
                  <c:v>2.1919649285611431E-3</c:v>
                </c:pt>
                <c:pt idx="1907">
                  <c:v>2.1919649285611431E-3</c:v>
                </c:pt>
                <c:pt idx="1908">
                  <c:v>2.1919649285611431E-3</c:v>
                </c:pt>
                <c:pt idx="1909">
                  <c:v>2.1919649285611431E-3</c:v>
                </c:pt>
                <c:pt idx="1910">
                  <c:v>2.1919649285611431E-3</c:v>
                </c:pt>
                <c:pt idx="1911">
                  <c:v>2.1919649285611431E-3</c:v>
                </c:pt>
                <c:pt idx="1912">
                  <c:v>2.1919649285611431E-3</c:v>
                </c:pt>
                <c:pt idx="1913">
                  <c:v>2.1919649285611431E-3</c:v>
                </c:pt>
                <c:pt idx="1914">
                  <c:v>2.1919649285611431E-3</c:v>
                </c:pt>
                <c:pt idx="1915">
                  <c:v>2.1919649285611431E-3</c:v>
                </c:pt>
                <c:pt idx="1916">
                  <c:v>2.1919649285611431E-3</c:v>
                </c:pt>
                <c:pt idx="1917">
                  <c:v>2.1919649285611431E-3</c:v>
                </c:pt>
                <c:pt idx="1918">
                  <c:v>2.1919649285611431E-3</c:v>
                </c:pt>
                <c:pt idx="1919">
                  <c:v>2.1919649285611431E-3</c:v>
                </c:pt>
                <c:pt idx="1920">
                  <c:v>2.1919649285611431E-3</c:v>
                </c:pt>
                <c:pt idx="1921">
                  <c:v>2.1919649285611431E-3</c:v>
                </c:pt>
                <c:pt idx="1922">
                  <c:v>2.1919649285611431E-3</c:v>
                </c:pt>
                <c:pt idx="1923">
                  <c:v>2.1919649285611431E-3</c:v>
                </c:pt>
                <c:pt idx="1924">
                  <c:v>2.1919649285611431E-3</c:v>
                </c:pt>
                <c:pt idx="1925">
                  <c:v>2.1919649285611431E-3</c:v>
                </c:pt>
                <c:pt idx="1926">
                  <c:v>2.1919649285611431E-3</c:v>
                </c:pt>
                <c:pt idx="1927">
                  <c:v>2.1919649285611431E-3</c:v>
                </c:pt>
                <c:pt idx="1928">
                  <c:v>2.1919649285611431E-3</c:v>
                </c:pt>
                <c:pt idx="1929">
                  <c:v>2.1919649285611431E-3</c:v>
                </c:pt>
                <c:pt idx="1930">
                  <c:v>2.1919649285611431E-3</c:v>
                </c:pt>
                <c:pt idx="1931">
                  <c:v>2.1919649285611431E-3</c:v>
                </c:pt>
                <c:pt idx="1932">
                  <c:v>2.1919649285611431E-3</c:v>
                </c:pt>
                <c:pt idx="1933">
                  <c:v>2.1919649285611431E-3</c:v>
                </c:pt>
                <c:pt idx="1934">
                  <c:v>2.1919649285611431E-3</c:v>
                </c:pt>
                <c:pt idx="1935">
                  <c:v>2.1919649285611431E-3</c:v>
                </c:pt>
                <c:pt idx="1936">
                  <c:v>2.1919649285611431E-3</c:v>
                </c:pt>
                <c:pt idx="1937">
                  <c:v>2.1919649285611431E-3</c:v>
                </c:pt>
                <c:pt idx="1938">
                  <c:v>2.1919649285611431E-3</c:v>
                </c:pt>
                <c:pt idx="1939">
                  <c:v>2.1919649285611431E-3</c:v>
                </c:pt>
                <c:pt idx="1940">
                  <c:v>2.1919649285611431E-3</c:v>
                </c:pt>
                <c:pt idx="1941">
                  <c:v>2.1919649285611431E-3</c:v>
                </c:pt>
                <c:pt idx="1942">
                  <c:v>2.1919649285611431E-3</c:v>
                </c:pt>
                <c:pt idx="1943">
                  <c:v>2.1919649285611431E-3</c:v>
                </c:pt>
                <c:pt idx="1944">
                  <c:v>2.1919649285611431E-3</c:v>
                </c:pt>
                <c:pt idx="1945">
                  <c:v>2.1919649285611431E-3</c:v>
                </c:pt>
                <c:pt idx="1946">
                  <c:v>2.1919649285611431E-3</c:v>
                </c:pt>
                <c:pt idx="1947">
                  <c:v>2.1919649285611431E-3</c:v>
                </c:pt>
                <c:pt idx="1948">
                  <c:v>2.1919649285611431E-3</c:v>
                </c:pt>
                <c:pt idx="1949">
                  <c:v>2.1919649285611431E-3</c:v>
                </c:pt>
                <c:pt idx="1950">
                  <c:v>2.1919649285611431E-3</c:v>
                </c:pt>
                <c:pt idx="1951">
                  <c:v>2.1919649285611431E-3</c:v>
                </c:pt>
                <c:pt idx="1952">
                  <c:v>2.1919649285611431E-3</c:v>
                </c:pt>
                <c:pt idx="1953">
                  <c:v>2.1919649285611431E-3</c:v>
                </c:pt>
                <c:pt idx="1954">
                  <c:v>2.1919649285611431E-3</c:v>
                </c:pt>
                <c:pt idx="1955">
                  <c:v>2.1919649285611431E-3</c:v>
                </c:pt>
                <c:pt idx="1956">
                  <c:v>2.1919649285611431E-3</c:v>
                </c:pt>
                <c:pt idx="1957">
                  <c:v>2.1919649285611431E-3</c:v>
                </c:pt>
                <c:pt idx="1958">
                  <c:v>2.1919649285611431E-3</c:v>
                </c:pt>
                <c:pt idx="1959">
                  <c:v>2.1919649285611431E-3</c:v>
                </c:pt>
                <c:pt idx="1960">
                  <c:v>2.1919649285611431E-3</c:v>
                </c:pt>
                <c:pt idx="1961">
                  <c:v>2.1919649285611431E-3</c:v>
                </c:pt>
                <c:pt idx="1962">
                  <c:v>2.1919649285611431E-3</c:v>
                </c:pt>
                <c:pt idx="1963">
                  <c:v>2.1919649285611431E-3</c:v>
                </c:pt>
                <c:pt idx="1964">
                  <c:v>2.1919649285611431E-3</c:v>
                </c:pt>
                <c:pt idx="1965">
                  <c:v>2.1919649285611431E-3</c:v>
                </c:pt>
                <c:pt idx="1966">
                  <c:v>2.1919649285611431E-3</c:v>
                </c:pt>
                <c:pt idx="1967">
                  <c:v>2.1919649285611431E-3</c:v>
                </c:pt>
                <c:pt idx="1968">
                  <c:v>2.1919649285611431E-3</c:v>
                </c:pt>
                <c:pt idx="1969">
                  <c:v>2.1919649285611431E-3</c:v>
                </c:pt>
                <c:pt idx="1970">
                  <c:v>2.1919649285611431E-3</c:v>
                </c:pt>
                <c:pt idx="1971">
                  <c:v>2.1919649285611431E-3</c:v>
                </c:pt>
                <c:pt idx="1972">
                  <c:v>2.1919649285611431E-3</c:v>
                </c:pt>
                <c:pt idx="1973">
                  <c:v>2.1919649285611431E-3</c:v>
                </c:pt>
                <c:pt idx="1974">
                  <c:v>2.1919649285611431E-3</c:v>
                </c:pt>
                <c:pt idx="1975">
                  <c:v>2.1919649285611431E-3</c:v>
                </c:pt>
                <c:pt idx="1976">
                  <c:v>2.1919649285611431E-3</c:v>
                </c:pt>
                <c:pt idx="1977">
                  <c:v>2.1919649285611431E-3</c:v>
                </c:pt>
                <c:pt idx="1978">
                  <c:v>2.1919649285611431E-3</c:v>
                </c:pt>
                <c:pt idx="1979">
                  <c:v>2.1919649285611431E-3</c:v>
                </c:pt>
                <c:pt idx="1980">
                  <c:v>2.1919649285611431E-3</c:v>
                </c:pt>
                <c:pt idx="1981">
                  <c:v>2.1919649285611431E-3</c:v>
                </c:pt>
                <c:pt idx="1982">
                  <c:v>2.1919649285611431E-3</c:v>
                </c:pt>
                <c:pt idx="1983">
                  <c:v>2.1919649285611431E-3</c:v>
                </c:pt>
                <c:pt idx="1984">
                  <c:v>2.1919649285611431E-3</c:v>
                </c:pt>
                <c:pt idx="1985">
                  <c:v>2.1919649285611431E-3</c:v>
                </c:pt>
                <c:pt idx="1986">
                  <c:v>2.1919649285611431E-3</c:v>
                </c:pt>
                <c:pt idx="1987">
                  <c:v>2.1919649285611431E-3</c:v>
                </c:pt>
                <c:pt idx="1988">
                  <c:v>2.1919649285611431E-3</c:v>
                </c:pt>
                <c:pt idx="1989">
                  <c:v>2.1919649285611431E-3</c:v>
                </c:pt>
                <c:pt idx="1990">
                  <c:v>2.1919649285611431E-3</c:v>
                </c:pt>
                <c:pt idx="1991">
                  <c:v>2.1919649285611431E-3</c:v>
                </c:pt>
                <c:pt idx="1992">
                  <c:v>2.1919649285611431E-3</c:v>
                </c:pt>
                <c:pt idx="1993">
                  <c:v>2.1919649285611431E-3</c:v>
                </c:pt>
                <c:pt idx="1994">
                  <c:v>2.1919649285611431E-3</c:v>
                </c:pt>
                <c:pt idx="1995">
                  <c:v>2.1919649285611431E-3</c:v>
                </c:pt>
                <c:pt idx="1996">
                  <c:v>2.1919649285611431E-3</c:v>
                </c:pt>
                <c:pt idx="1997">
                  <c:v>2.1919649285611431E-3</c:v>
                </c:pt>
                <c:pt idx="1998">
                  <c:v>2.1919649285611431E-3</c:v>
                </c:pt>
                <c:pt idx="1999">
                  <c:v>2.1919649285611431E-3</c:v>
                </c:pt>
                <c:pt idx="2000">
                  <c:v>9.7858434265051791E-3</c:v>
                </c:pt>
                <c:pt idx="2001">
                  <c:v>9.7858434265051791E-3</c:v>
                </c:pt>
                <c:pt idx="2002">
                  <c:v>9.7858434265051791E-3</c:v>
                </c:pt>
                <c:pt idx="2003">
                  <c:v>9.7858434265051791E-3</c:v>
                </c:pt>
                <c:pt idx="2004">
                  <c:v>9.7858434265051791E-3</c:v>
                </c:pt>
                <c:pt idx="2005">
                  <c:v>9.7858434265051791E-3</c:v>
                </c:pt>
                <c:pt idx="2006">
                  <c:v>9.7858434265051791E-3</c:v>
                </c:pt>
                <c:pt idx="2007">
                  <c:v>9.7858434265051791E-3</c:v>
                </c:pt>
                <c:pt idx="2008">
                  <c:v>9.7858434265051791E-3</c:v>
                </c:pt>
                <c:pt idx="2009">
                  <c:v>9.7858434265051791E-3</c:v>
                </c:pt>
                <c:pt idx="2010">
                  <c:v>9.7858434265051791E-3</c:v>
                </c:pt>
                <c:pt idx="2011">
                  <c:v>9.7858434265051791E-3</c:v>
                </c:pt>
                <c:pt idx="2012">
                  <c:v>9.7858434265051791E-3</c:v>
                </c:pt>
                <c:pt idx="2013">
                  <c:v>9.7858434265051791E-3</c:v>
                </c:pt>
                <c:pt idx="2014">
                  <c:v>9.7858434265051791E-3</c:v>
                </c:pt>
                <c:pt idx="2015">
                  <c:v>9.7858434265051791E-3</c:v>
                </c:pt>
                <c:pt idx="2016">
                  <c:v>9.7858434265051791E-3</c:v>
                </c:pt>
                <c:pt idx="2017">
                  <c:v>9.7858434265051791E-3</c:v>
                </c:pt>
                <c:pt idx="2018">
                  <c:v>9.7858434265051791E-3</c:v>
                </c:pt>
                <c:pt idx="2019">
                  <c:v>9.7858434265051791E-3</c:v>
                </c:pt>
                <c:pt idx="2020">
                  <c:v>9.7858434265051791E-3</c:v>
                </c:pt>
                <c:pt idx="2021">
                  <c:v>9.7858434265051791E-3</c:v>
                </c:pt>
                <c:pt idx="2022">
                  <c:v>9.7858434265051791E-3</c:v>
                </c:pt>
                <c:pt idx="2023">
                  <c:v>9.7858434265051791E-3</c:v>
                </c:pt>
                <c:pt idx="2024">
                  <c:v>9.7858434265051791E-3</c:v>
                </c:pt>
                <c:pt idx="2025">
                  <c:v>9.7858434265051791E-3</c:v>
                </c:pt>
                <c:pt idx="2026">
                  <c:v>9.7858434265051791E-3</c:v>
                </c:pt>
                <c:pt idx="2027">
                  <c:v>9.7858434265051791E-3</c:v>
                </c:pt>
                <c:pt idx="2028">
                  <c:v>9.7858434265051791E-3</c:v>
                </c:pt>
                <c:pt idx="2029">
                  <c:v>9.7858434265051791E-3</c:v>
                </c:pt>
                <c:pt idx="2030">
                  <c:v>9.7858434265051791E-3</c:v>
                </c:pt>
                <c:pt idx="2031">
                  <c:v>9.7858434265051791E-3</c:v>
                </c:pt>
                <c:pt idx="2032">
                  <c:v>9.7858434265051791E-3</c:v>
                </c:pt>
                <c:pt idx="2033">
                  <c:v>9.7858434265051791E-3</c:v>
                </c:pt>
                <c:pt idx="2034">
                  <c:v>9.7858434265051791E-3</c:v>
                </c:pt>
                <c:pt idx="2035">
                  <c:v>9.7858434265051791E-3</c:v>
                </c:pt>
                <c:pt idx="2036">
                  <c:v>9.7858434265051791E-3</c:v>
                </c:pt>
                <c:pt idx="2037">
                  <c:v>9.7858434265051791E-3</c:v>
                </c:pt>
                <c:pt idx="2038">
                  <c:v>9.7858434265051791E-3</c:v>
                </c:pt>
                <c:pt idx="2039">
                  <c:v>9.7858434265051791E-3</c:v>
                </c:pt>
                <c:pt idx="2040">
                  <c:v>9.7858434265051791E-3</c:v>
                </c:pt>
                <c:pt idx="2041">
                  <c:v>9.7858434265051791E-3</c:v>
                </c:pt>
                <c:pt idx="2042">
                  <c:v>9.7858434265051791E-3</c:v>
                </c:pt>
                <c:pt idx="2043">
                  <c:v>9.7858434265051791E-3</c:v>
                </c:pt>
                <c:pt idx="2044">
                  <c:v>9.7858434265051791E-3</c:v>
                </c:pt>
                <c:pt idx="2045">
                  <c:v>9.7858434265051791E-3</c:v>
                </c:pt>
                <c:pt idx="2046">
                  <c:v>9.7858434265051791E-3</c:v>
                </c:pt>
                <c:pt idx="2047">
                  <c:v>9.7858434265051791E-3</c:v>
                </c:pt>
                <c:pt idx="2048">
                  <c:v>9.7858434265051791E-3</c:v>
                </c:pt>
                <c:pt idx="2049">
                  <c:v>9.7858434265051791E-3</c:v>
                </c:pt>
                <c:pt idx="2050">
                  <c:v>9.7858434265051791E-3</c:v>
                </c:pt>
                <c:pt idx="2051">
                  <c:v>9.7858434265051791E-3</c:v>
                </c:pt>
                <c:pt idx="2052">
                  <c:v>9.7858434265051791E-3</c:v>
                </c:pt>
                <c:pt idx="2053">
                  <c:v>9.7858434265051791E-3</c:v>
                </c:pt>
                <c:pt idx="2054">
                  <c:v>9.7858434265051791E-3</c:v>
                </c:pt>
                <c:pt idx="2055">
                  <c:v>9.7858434265051791E-3</c:v>
                </c:pt>
                <c:pt idx="2056">
                  <c:v>9.7858434265051791E-3</c:v>
                </c:pt>
                <c:pt idx="2057">
                  <c:v>9.7858434265051791E-3</c:v>
                </c:pt>
                <c:pt idx="2058">
                  <c:v>9.7858434265051791E-3</c:v>
                </c:pt>
                <c:pt idx="2059">
                  <c:v>9.7858434265051791E-3</c:v>
                </c:pt>
                <c:pt idx="2060">
                  <c:v>9.7858434265051791E-3</c:v>
                </c:pt>
                <c:pt idx="2061">
                  <c:v>9.7858434265051791E-3</c:v>
                </c:pt>
                <c:pt idx="2062">
                  <c:v>9.7858434265051791E-3</c:v>
                </c:pt>
                <c:pt idx="2063">
                  <c:v>9.7858434265051791E-3</c:v>
                </c:pt>
                <c:pt idx="2064">
                  <c:v>9.7858434265051791E-3</c:v>
                </c:pt>
                <c:pt idx="2065">
                  <c:v>9.7858434265051791E-3</c:v>
                </c:pt>
                <c:pt idx="2066">
                  <c:v>9.7858434265051791E-3</c:v>
                </c:pt>
                <c:pt idx="2067">
                  <c:v>9.7858434265051791E-3</c:v>
                </c:pt>
                <c:pt idx="2068">
                  <c:v>9.7858434265051791E-3</c:v>
                </c:pt>
                <c:pt idx="2069">
                  <c:v>9.7858434265051791E-3</c:v>
                </c:pt>
                <c:pt idx="2070">
                  <c:v>9.7858434265051791E-3</c:v>
                </c:pt>
                <c:pt idx="2071">
                  <c:v>9.7858434265051791E-3</c:v>
                </c:pt>
                <c:pt idx="2072">
                  <c:v>9.7858434265051791E-3</c:v>
                </c:pt>
                <c:pt idx="2073">
                  <c:v>9.7858434265051791E-3</c:v>
                </c:pt>
                <c:pt idx="2074">
                  <c:v>9.7858434265051791E-3</c:v>
                </c:pt>
                <c:pt idx="2075">
                  <c:v>9.7858434265051791E-3</c:v>
                </c:pt>
                <c:pt idx="2076">
                  <c:v>9.7858434265051791E-3</c:v>
                </c:pt>
                <c:pt idx="2077">
                  <c:v>9.7858434265051791E-3</c:v>
                </c:pt>
                <c:pt idx="2078">
                  <c:v>9.7858434265051791E-3</c:v>
                </c:pt>
                <c:pt idx="2079">
                  <c:v>9.7858434265051791E-3</c:v>
                </c:pt>
                <c:pt idx="2080">
                  <c:v>9.7858434265051791E-3</c:v>
                </c:pt>
                <c:pt idx="2081">
                  <c:v>9.7858434265051791E-3</c:v>
                </c:pt>
                <c:pt idx="2082">
                  <c:v>9.7858434265051791E-3</c:v>
                </c:pt>
                <c:pt idx="2083">
                  <c:v>9.7858434265051791E-3</c:v>
                </c:pt>
                <c:pt idx="2084">
                  <c:v>9.7858434265051791E-3</c:v>
                </c:pt>
                <c:pt idx="2085">
                  <c:v>9.7858434265051791E-3</c:v>
                </c:pt>
                <c:pt idx="2086">
                  <c:v>9.7858434265051791E-3</c:v>
                </c:pt>
                <c:pt idx="2087">
                  <c:v>9.7858434265051791E-3</c:v>
                </c:pt>
                <c:pt idx="2088">
                  <c:v>9.7858434265051791E-3</c:v>
                </c:pt>
                <c:pt idx="2089">
                  <c:v>9.7858434265051791E-3</c:v>
                </c:pt>
                <c:pt idx="2090">
                  <c:v>9.7858434265051791E-3</c:v>
                </c:pt>
                <c:pt idx="2091">
                  <c:v>9.7858434265051791E-3</c:v>
                </c:pt>
                <c:pt idx="2092">
                  <c:v>9.7858434265051791E-3</c:v>
                </c:pt>
                <c:pt idx="2093">
                  <c:v>9.7858434265051791E-3</c:v>
                </c:pt>
                <c:pt idx="2094">
                  <c:v>9.7858434265051791E-3</c:v>
                </c:pt>
                <c:pt idx="2095">
                  <c:v>9.7858434265051791E-3</c:v>
                </c:pt>
                <c:pt idx="2096">
                  <c:v>9.7858434265051791E-3</c:v>
                </c:pt>
                <c:pt idx="2097">
                  <c:v>9.7858434265051791E-3</c:v>
                </c:pt>
                <c:pt idx="2098">
                  <c:v>9.7858434265051791E-3</c:v>
                </c:pt>
                <c:pt idx="2099">
                  <c:v>9.7858434265051791E-3</c:v>
                </c:pt>
                <c:pt idx="2100">
                  <c:v>3.3359466248540034E-3</c:v>
                </c:pt>
                <c:pt idx="2101">
                  <c:v>3.3359466248540034E-3</c:v>
                </c:pt>
                <c:pt idx="2102">
                  <c:v>3.3359466248540034E-3</c:v>
                </c:pt>
                <c:pt idx="2103">
                  <c:v>3.3359466248540034E-3</c:v>
                </c:pt>
                <c:pt idx="2104">
                  <c:v>3.3359466248540034E-3</c:v>
                </c:pt>
                <c:pt idx="2105">
                  <c:v>3.3359466248540034E-3</c:v>
                </c:pt>
                <c:pt idx="2106">
                  <c:v>3.3359466248540034E-3</c:v>
                </c:pt>
                <c:pt idx="2107">
                  <c:v>3.3359466248540034E-3</c:v>
                </c:pt>
                <c:pt idx="2108">
                  <c:v>3.3359466248540034E-3</c:v>
                </c:pt>
                <c:pt idx="2109">
                  <c:v>3.3359466248540034E-3</c:v>
                </c:pt>
                <c:pt idx="2110">
                  <c:v>3.3359466248540034E-3</c:v>
                </c:pt>
                <c:pt idx="2111">
                  <c:v>3.3359466248540034E-3</c:v>
                </c:pt>
                <c:pt idx="2112">
                  <c:v>3.3359466248540034E-3</c:v>
                </c:pt>
                <c:pt idx="2113">
                  <c:v>3.3359466248540034E-3</c:v>
                </c:pt>
                <c:pt idx="2114">
                  <c:v>3.3359466248540034E-3</c:v>
                </c:pt>
                <c:pt idx="2115">
                  <c:v>3.3359466248540034E-3</c:v>
                </c:pt>
                <c:pt idx="2116">
                  <c:v>3.3359466248540034E-3</c:v>
                </c:pt>
                <c:pt idx="2117">
                  <c:v>3.3359466248540034E-3</c:v>
                </c:pt>
                <c:pt idx="2118">
                  <c:v>3.3359466248540034E-3</c:v>
                </c:pt>
                <c:pt idx="2119">
                  <c:v>3.3359466248540034E-3</c:v>
                </c:pt>
                <c:pt idx="2120">
                  <c:v>3.3359466248540034E-3</c:v>
                </c:pt>
                <c:pt idx="2121">
                  <c:v>3.3359466248540034E-3</c:v>
                </c:pt>
                <c:pt idx="2122">
                  <c:v>3.3359466248540034E-3</c:v>
                </c:pt>
                <c:pt idx="2123">
                  <c:v>3.3359466248540034E-3</c:v>
                </c:pt>
                <c:pt idx="2124">
                  <c:v>3.3359466248540034E-3</c:v>
                </c:pt>
                <c:pt idx="2125">
                  <c:v>3.3359466248540034E-3</c:v>
                </c:pt>
                <c:pt idx="2126">
                  <c:v>3.3359466248540034E-3</c:v>
                </c:pt>
                <c:pt idx="2127">
                  <c:v>3.3359466248540034E-3</c:v>
                </c:pt>
                <c:pt idx="2128">
                  <c:v>3.3359466248540034E-3</c:v>
                </c:pt>
                <c:pt idx="2129">
                  <c:v>3.3359466248540034E-3</c:v>
                </c:pt>
                <c:pt idx="2130">
                  <c:v>3.3359466248540034E-3</c:v>
                </c:pt>
                <c:pt idx="2131">
                  <c:v>3.3359466248540034E-3</c:v>
                </c:pt>
                <c:pt idx="2132">
                  <c:v>3.3359466248540034E-3</c:v>
                </c:pt>
                <c:pt idx="2133">
                  <c:v>3.3359466248540034E-3</c:v>
                </c:pt>
                <c:pt idx="2134">
                  <c:v>3.3359466248540034E-3</c:v>
                </c:pt>
                <c:pt idx="2135">
                  <c:v>3.3359466248540034E-3</c:v>
                </c:pt>
                <c:pt idx="2136">
                  <c:v>3.3359466248540034E-3</c:v>
                </c:pt>
                <c:pt idx="2137">
                  <c:v>3.3359466248540034E-3</c:v>
                </c:pt>
                <c:pt idx="2138">
                  <c:v>3.3359466248540034E-3</c:v>
                </c:pt>
                <c:pt idx="2139">
                  <c:v>3.3359466248540034E-3</c:v>
                </c:pt>
                <c:pt idx="2140">
                  <c:v>3.3359466248540034E-3</c:v>
                </c:pt>
                <c:pt idx="2141">
                  <c:v>3.3359466248540034E-3</c:v>
                </c:pt>
                <c:pt idx="2142">
                  <c:v>3.3359466248540034E-3</c:v>
                </c:pt>
                <c:pt idx="2143">
                  <c:v>3.3359466248540034E-3</c:v>
                </c:pt>
                <c:pt idx="2144">
                  <c:v>3.3359466248540034E-3</c:v>
                </c:pt>
                <c:pt idx="2145">
                  <c:v>3.3359466248540034E-3</c:v>
                </c:pt>
                <c:pt idx="2146">
                  <c:v>3.3359466248540034E-3</c:v>
                </c:pt>
                <c:pt idx="2147">
                  <c:v>3.3359466248540034E-3</c:v>
                </c:pt>
                <c:pt idx="2148">
                  <c:v>3.3359466248540034E-3</c:v>
                </c:pt>
                <c:pt idx="2149">
                  <c:v>3.3359466248540034E-3</c:v>
                </c:pt>
                <c:pt idx="2150">
                  <c:v>3.3359466248540034E-3</c:v>
                </c:pt>
                <c:pt idx="2151">
                  <c:v>3.3359466248540034E-3</c:v>
                </c:pt>
                <c:pt idx="2152">
                  <c:v>3.3359466248540034E-3</c:v>
                </c:pt>
                <c:pt idx="2153">
                  <c:v>3.3359466248540034E-3</c:v>
                </c:pt>
                <c:pt idx="2154">
                  <c:v>3.3359466248540034E-3</c:v>
                </c:pt>
                <c:pt idx="2155">
                  <c:v>3.3359466248540034E-3</c:v>
                </c:pt>
                <c:pt idx="2156">
                  <c:v>3.3359466248540034E-3</c:v>
                </c:pt>
                <c:pt idx="2157">
                  <c:v>3.3359466248540034E-3</c:v>
                </c:pt>
                <c:pt idx="2158">
                  <c:v>3.3359466248540034E-3</c:v>
                </c:pt>
                <c:pt idx="2159">
                  <c:v>3.3359466248540034E-3</c:v>
                </c:pt>
                <c:pt idx="2160">
                  <c:v>3.3359466248540034E-3</c:v>
                </c:pt>
                <c:pt idx="2161">
                  <c:v>3.3359466248540034E-3</c:v>
                </c:pt>
                <c:pt idx="2162">
                  <c:v>3.3359466248540034E-3</c:v>
                </c:pt>
                <c:pt idx="2163">
                  <c:v>3.3359466248540034E-3</c:v>
                </c:pt>
                <c:pt idx="2164">
                  <c:v>3.3359466248540034E-3</c:v>
                </c:pt>
                <c:pt idx="2165">
                  <c:v>3.3359466248540034E-3</c:v>
                </c:pt>
                <c:pt idx="2166">
                  <c:v>3.3359466248540034E-3</c:v>
                </c:pt>
                <c:pt idx="2167">
                  <c:v>3.3359466248540034E-3</c:v>
                </c:pt>
                <c:pt idx="2168">
                  <c:v>3.3359466248540034E-3</c:v>
                </c:pt>
                <c:pt idx="2169">
                  <c:v>3.3359466248540034E-3</c:v>
                </c:pt>
                <c:pt idx="2170">
                  <c:v>3.3359466248540034E-3</c:v>
                </c:pt>
                <c:pt idx="2171">
                  <c:v>3.3359466248540034E-3</c:v>
                </c:pt>
                <c:pt idx="2172">
                  <c:v>3.3359466248540034E-3</c:v>
                </c:pt>
                <c:pt idx="2173">
                  <c:v>3.3359466248540034E-3</c:v>
                </c:pt>
                <c:pt idx="2174">
                  <c:v>3.3359466248540034E-3</c:v>
                </c:pt>
                <c:pt idx="2175">
                  <c:v>3.3359466248540034E-3</c:v>
                </c:pt>
                <c:pt idx="2176">
                  <c:v>3.3359466248540034E-3</c:v>
                </c:pt>
                <c:pt idx="2177">
                  <c:v>3.3359466248540034E-3</c:v>
                </c:pt>
                <c:pt idx="2178">
                  <c:v>3.3359466248540034E-3</c:v>
                </c:pt>
                <c:pt idx="2179">
                  <c:v>3.3359466248540034E-3</c:v>
                </c:pt>
                <c:pt idx="2180">
                  <c:v>3.3359466248540034E-3</c:v>
                </c:pt>
                <c:pt idx="2181">
                  <c:v>3.3359466248540034E-3</c:v>
                </c:pt>
                <c:pt idx="2182">
                  <c:v>3.3359466248540034E-3</c:v>
                </c:pt>
                <c:pt idx="2183">
                  <c:v>3.3359466248540034E-3</c:v>
                </c:pt>
                <c:pt idx="2184">
                  <c:v>3.3359466248540034E-3</c:v>
                </c:pt>
                <c:pt idx="2185">
                  <c:v>3.3359466248540034E-3</c:v>
                </c:pt>
                <c:pt idx="2186">
                  <c:v>3.3359466248540034E-3</c:v>
                </c:pt>
                <c:pt idx="2187">
                  <c:v>3.3359466248540034E-3</c:v>
                </c:pt>
                <c:pt idx="2188">
                  <c:v>3.3359466248540034E-3</c:v>
                </c:pt>
                <c:pt idx="2189">
                  <c:v>3.3359466248540034E-3</c:v>
                </c:pt>
                <c:pt idx="2190">
                  <c:v>3.3359466248540034E-3</c:v>
                </c:pt>
                <c:pt idx="2191">
                  <c:v>3.3359466248540034E-3</c:v>
                </c:pt>
                <c:pt idx="2192">
                  <c:v>3.3359466248540034E-3</c:v>
                </c:pt>
                <c:pt idx="2193">
                  <c:v>3.3359466248540034E-3</c:v>
                </c:pt>
                <c:pt idx="2194">
                  <c:v>3.3359466248540034E-3</c:v>
                </c:pt>
                <c:pt idx="2195">
                  <c:v>3.3359466248540034E-3</c:v>
                </c:pt>
                <c:pt idx="2196">
                  <c:v>3.3359466248540034E-3</c:v>
                </c:pt>
                <c:pt idx="2197">
                  <c:v>3.3359466248540034E-3</c:v>
                </c:pt>
                <c:pt idx="2198">
                  <c:v>3.3359466248540034E-3</c:v>
                </c:pt>
                <c:pt idx="2199">
                  <c:v>3.3359466248540034E-3</c:v>
                </c:pt>
                <c:pt idx="2200">
                  <c:v>5.2799155213516583E-4</c:v>
                </c:pt>
                <c:pt idx="2201">
                  <c:v>5.2799155213516583E-4</c:v>
                </c:pt>
                <c:pt idx="2202">
                  <c:v>5.2799155213516583E-4</c:v>
                </c:pt>
                <c:pt idx="2203">
                  <c:v>5.2799155213516583E-4</c:v>
                </c:pt>
                <c:pt idx="2204">
                  <c:v>5.2799155213516583E-4</c:v>
                </c:pt>
                <c:pt idx="2205">
                  <c:v>5.2799155213516583E-4</c:v>
                </c:pt>
                <c:pt idx="2206">
                  <c:v>5.2799155213516583E-4</c:v>
                </c:pt>
                <c:pt idx="2207">
                  <c:v>5.2799155213516583E-4</c:v>
                </c:pt>
                <c:pt idx="2208">
                  <c:v>5.2799155213516583E-4</c:v>
                </c:pt>
                <c:pt idx="2209">
                  <c:v>5.2799155213516583E-4</c:v>
                </c:pt>
                <c:pt idx="2210">
                  <c:v>5.2799155213516583E-4</c:v>
                </c:pt>
                <c:pt idx="2211">
                  <c:v>5.2799155213516583E-4</c:v>
                </c:pt>
                <c:pt idx="2212">
                  <c:v>5.2799155213516583E-4</c:v>
                </c:pt>
                <c:pt idx="2213">
                  <c:v>5.2799155213516583E-4</c:v>
                </c:pt>
                <c:pt idx="2214">
                  <c:v>5.2799155213516583E-4</c:v>
                </c:pt>
                <c:pt idx="2215">
                  <c:v>5.2799155213516583E-4</c:v>
                </c:pt>
                <c:pt idx="2216">
                  <c:v>5.2799155213516583E-4</c:v>
                </c:pt>
                <c:pt idx="2217">
                  <c:v>5.2799155213516583E-4</c:v>
                </c:pt>
                <c:pt idx="2218">
                  <c:v>5.2799155213516583E-4</c:v>
                </c:pt>
                <c:pt idx="2219">
                  <c:v>5.2799155213516583E-4</c:v>
                </c:pt>
                <c:pt idx="2220">
                  <c:v>5.2799155213516583E-4</c:v>
                </c:pt>
                <c:pt idx="2221">
                  <c:v>5.2799155213516583E-4</c:v>
                </c:pt>
                <c:pt idx="2222">
                  <c:v>5.2799155213516583E-4</c:v>
                </c:pt>
                <c:pt idx="2223">
                  <c:v>5.2799155213516583E-4</c:v>
                </c:pt>
                <c:pt idx="2224">
                  <c:v>5.2799155213516583E-4</c:v>
                </c:pt>
                <c:pt idx="2225">
                  <c:v>5.2799155213516583E-4</c:v>
                </c:pt>
                <c:pt idx="2226">
                  <c:v>5.2799155213516583E-4</c:v>
                </c:pt>
                <c:pt idx="2227">
                  <c:v>5.2799155213516583E-4</c:v>
                </c:pt>
                <c:pt idx="2228">
                  <c:v>5.2799155213516583E-4</c:v>
                </c:pt>
                <c:pt idx="2229">
                  <c:v>5.2799155213516583E-4</c:v>
                </c:pt>
                <c:pt idx="2230">
                  <c:v>5.2799155213516583E-4</c:v>
                </c:pt>
                <c:pt idx="2231">
                  <c:v>5.2799155213516583E-4</c:v>
                </c:pt>
                <c:pt idx="2232">
                  <c:v>5.2799155213516583E-4</c:v>
                </c:pt>
                <c:pt idx="2233">
                  <c:v>5.2799155213516583E-4</c:v>
                </c:pt>
                <c:pt idx="2234">
                  <c:v>5.2799155213516583E-4</c:v>
                </c:pt>
                <c:pt idx="2235">
                  <c:v>5.2799155213516583E-4</c:v>
                </c:pt>
                <c:pt idx="2236">
                  <c:v>5.2799155213516583E-4</c:v>
                </c:pt>
                <c:pt idx="2237">
                  <c:v>5.2799155213516583E-4</c:v>
                </c:pt>
                <c:pt idx="2238">
                  <c:v>5.2799155213516583E-4</c:v>
                </c:pt>
                <c:pt idx="2239">
                  <c:v>5.2799155213516583E-4</c:v>
                </c:pt>
                <c:pt idx="2240">
                  <c:v>5.2799155213516583E-4</c:v>
                </c:pt>
                <c:pt idx="2241">
                  <c:v>5.2799155213516583E-4</c:v>
                </c:pt>
                <c:pt idx="2242">
                  <c:v>5.2799155213516583E-4</c:v>
                </c:pt>
                <c:pt idx="2243">
                  <c:v>5.2799155213516583E-4</c:v>
                </c:pt>
                <c:pt idx="2244">
                  <c:v>5.2799155213516583E-4</c:v>
                </c:pt>
                <c:pt idx="2245">
                  <c:v>5.2799155213516583E-4</c:v>
                </c:pt>
                <c:pt idx="2246">
                  <c:v>5.2799155213516583E-4</c:v>
                </c:pt>
                <c:pt idx="2247">
                  <c:v>5.2799155213516583E-4</c:v>
                </c:pt>
                <c:pt idx="2248">
                  <c:v>5.2799155213516583E-4</c:v>
                </c:pt>
                <c:pt idx="2249">
                  <c:v>5.2799155213516583E-4</c:v>
                </c:pt>
                <c:pt idx="2250">
                  <c:v>5.2799155213516583E-4</c:v>
                </c:pt>
                <c:pt idx="2251">
                  <c:v>5.2799155213516583E-4</c:v>
                </c:pt>
                <c:pt idx="2252">
                  <c:v>5.2799155213516583E-4</c:v>
                </c:pt>
                <c:pt idx="2253">
                  <c:v>5.2799155213516583E-4</c:v>
                </c:pt>
                <c:pt idx="2254">
                  <c:v>5.2799155213516583E-4</c:v>
                </c:pt>
                <c:pt idx="2255">
                  <c:v>5.2799155213516583E-4</c:v>
                </c:pt>
                <c:pt idx="2256">
                  <c:v>5.2799155213516583E-4</c:v>
                </c:pt>
                <c:pt idx="2257">
                  <c:v>5.2799155213516583E-4</c:v>
                </c:pt>
                <c:pt idx="2258">
                  <c:v>5.2799155213516583E-4</c:v>
                </c:pt>
                <c:pt idx="2259">
                  <c:v>5.2799155213516583E-4</c:v>
                </c:pt>
                <c:pt idx="2260">
                  <c:v>5.2799155213516583E-4</c:v>
                </c:pt>
                <c:pt idx="2261">
                  <c:v>5.2799155213516583E-4</c:v>
                </c:pt>
                <c:pt idx="2262">
                  <c:v>5.2799155213516583E-4</c:v>
                </c:pt>
                <c:pt idx="2263">
                  <c:v>5.2799155213516583E-4</c:v>
                </c:pt>
                <c:pt idx="2264">
                  <c:v>5.2799155213516583E-4</c:v>
                </c:pt>
                <c:pt idx="2265">
                  <c:v>5.2799155213516583E-4</c:v>
                </c:pt>
                <c:pt idx="2266">
                  <c:v>5.2799155213516583E-4</c:v>
                </c:pt>
                <c:pt idx="2267">
                  <c:v>5.2799155213516583E-4</c:v>
                </c:pt>
                <c:pt idx="2268">
                  <c:v>5.2799155213516583E-4</c:v>
                </c:pt>
                <c:pt idx="2269">
                  <c:v>5.2799155213516583E-4</c:v>
                </c:pt>
                <c:pt idx="2270">
                  <c:v>5.2799155213516583E-4</c:v>
                </c:pt>
                <c:pt idx="2271">
                  <c:v>5.2799155213516583E-4</c:v>
                </c:pt>
                <c:pt idx="2272">
                  <c:v>5.2799155213516583E-4</c:v>
                </c:pt>
                <c:pt idx="2273">
                  <c:v>5.2799155213516583E-4</c:v>
                </c:pt>
                <c:pt idx="2274">
                  <c:v>5.2799155213516583E-4</c:v>
                </c:pt>
                <c:pt idx="2275">
                  <c:v>5.2799155213516583E-4</c:v>
                </c:pt>
                <c:pt idx="2276">
                  <c:v>5.2799155213516583E-4</c:v>
                </c:pt>
                <c:pt idx="2277">
                  <c:v>5.2799155213516583E-4</c:v>
                </c:pt>
                <c:pt idx="2278">
                  <c:v>5.2799155213516583E-4</c:v>
                </c:pt>
                <c:pt idx="2279">
                  <c:v>5.2799155213516583E-4</c:v>
                </c:pt>
                <c:pt idx="2280">
                  <c:v>5.2799155213516583E-4</c:v>
                </c:pt>
                <c:pt idx="2281">
                  <c:v>5.2799155213516583E-4</c:v>
                </c:pt>
                <c:pt idx="2282">
                  <c:v>5.2799155213516583E-4</c:v>
                </c:pt>
                <c:pt idx="2283">
                  <c:v>5.2799155213516583E-4</c:v>
                </c:pt>
                <c:pt idx="2284">
                  <c:v>5.2799155213516583E-4</c:v>
                </c:pt>
                <c:pt idx="2285">
                  <c:v>5.2799155213516583E-4</c:v>
                </c:pt>
                <c:pt idx="2286">
                  <c:v>5.2799155213516583E-4</c:v>
                </c:pt>
                <c:pt idx="2287">
                  <c:v>5.2799155213516583E-4</c:v>
                </c:pt>
                <c:pt idx="2288">
                  <c:v>5.2799155213516583E-4</c:v>
                </c:pt>
                <c:pt idx="2289">
                  <c:v>5.2799155213516583E-4</c:v>
                </c:pt>
                <c:pt idx="2290">
                  <c:v>5.2799155213516583E-4</c:v>
                </c:pt>
                <c:pt idx="2291">
                  <c:v>5.2799155213516583E-4</c:v>
                </c:pt>
                <c:pt idx="2292">
                  <c:v>5.2799155213516583E-4</c:v>
                </c:pt>
                <c:pt idx="2293">
                  <c:v>5.2799155213516583E-4</c:v>
                </c:pt>
                <c:pt idx="2294">
                  <c:v>5.2799155213516583E-4</c:v>
                </c:pt>
                <c:pt idx="2295">
                  <c:v>5.2799155213516583E-4</c:v>
                </c:pt>
                <c:pt idx="2296">
                  <c:v>5.2799155213516583E-4</c:v>
                </c:pt>
                <c:pt idx="2297">
                  <c:v>5.2799155213516583E-4</c:v>
                </c:pt>
                <c:pt idx="2298">
                  <c:v>5.2799155213516583E-4</c:v>
                </c:pt>
                <c:pt idx="2299">
                  <c:v>5.2799155213516583E-4</c:v>
                </c:pt>
                <c:pt idx="2300">
                  <c:v>4.3719300491192135E-3</c:v>
                </c:pt>
                <c:pt idx="2301">
                  <c:v>4.3719300491192135E-3</c:v>
                </c:pt>
                <c:pt idx="2302">
                  <c:v>4.3719300491192135E-3</c:v>
                </c:pt>
                <c:pt idx="2303">
                  <c:v>4.3719300491192135E-3</c:v>
                </c:pt>
                <c:pt idx="2304">
                  <c:v>4.3719300491192135E-3</c:v>
                </c:pt>
                <c:pt idx="2305">
                  <c:v>4.3719300491192135E-3</c:v>
                </c:pt>
                <c:pt idx="2306">
                  <c:v>4.3719300491192135E-3</c:v>
                </c:pt>
                <c:pt idx="2307">
                  <c:v>4.3719300491192135E-3</c:v>
                </c:pt>
                <c:pt idx="2308">
                  <c:v>4.3719300491192135E-3</c:v>
                </c:pt>
                <c:pt idx="2309">
                  <c:v>4.3719300491192135E-3</c:v>
                </c:pt>
                <c:pt idx="2310">
                  <c:v>4.3719300491192135E-3</c:v>
                </c:pt>
                <c:pt idx="2311">
                  <c:v>4.3719300491192135E-3</c:v>
                </c:pt>
                <c:pt idx="2312">
                  <c:v>4.3719300491192135E-3</c:v>
                </c:pt>
                <c:pt idx="2313">
                  <c:v>4.3719300491192135E-3</c:v>
                </c:pt>
                <c:pt idx="2314">
                  <c:v>4.3719300491192135E-3</c:v>
                </c:pt>
                <c:pt idx="2315">
                  <c:v>4.3719300491192135E-3</c:v>
                </c:pt>
                <c:pt idx="2316">
                  <c:v>4.3719300491192135E-3</c:v>
                </c:pt>
                <c:pt idx="2317">
                  <c:v>4.3719300491192135E-3</c:v>
                </c:pt>
                <c:pt idx="2318">
                  <c:v>4.3719300491192135E-3</c:v>
                </c:pt>
                <c:pt idx="2319">
                  <c:v>4.3719300491192135E-3</c:v>
                </c:pt>
                <c:pt idx="2320">
                  <c:v>4.3719300491192135E-3</c:v>
                </c:pt>
                <c:pt idx="2321">
                  <c:v>4.3719300491192135E-3</c:v>
                </c:pt>
                <c:pt idx="2322">
                  <c:v>4.3719300491192135E-3</c:v>
                </c:pt>
                <c:pt idx="2323">
                  <c:v>4.3719300491192135E-3</c:v>
                </c:pt>
                <c:pt idx="2324">
                  <c:v>4.3719300491192135E-3</c:v>
                </c:pt>
                <c:pt idx="2325">
                  <c:v>4.3719300491192135E-3</c:v>
                </c:pt>
                <c:pt idx="2326">
                  <c:v>4.3719300491192135E-3</c:v>
                </c:pt>
                <c:pt idx="2327">
                  <c:v>4.3719300491192135E-3</c:v>
                </c:pt>
                <c:pt idx="2328">
                  <c:v>4.3719300491192135E-3</c:v>
                </c:pt>
                <c:pt idx="2329">
                  <c:v>4.3719300491192135E-3</c:v>
                </c:pt>
                <c:pt idx="2330">
                  <c:v>4.3719300491192135E-3</c:v>
                </c:pt>
                <c:pt idx="2331">
                  <c:v>4.3719300491192135E-3</c:v>
                </c:pt>
                <c:pt idx="2332">
                  <c:v>4.3719300491192135E-3</c:v>
                </c:pt>
                <c:pt idx="2333">
                  <c:v>4.3719300491192135E-3</c:v>
                </c:pt>
                <c:pt idx="2334">
                  <c:v>4.3719300491192135E-3</c:v>
                </c:pt>
                <c:pt idx="2335">
                  <c:v>4.3719300491192135E-3</c:v>
                </c:pt>
                <c:pt idx="2336">
                  <c:v>4.3719300491192135E-3</c:v>
                </c:pt>
                <c:pt idx="2337">
                  <c:v>4.3719300491192135E-3</c:v>
                </c:pt>
                <c:pt idx="2338">
                  <c:v>4.3719300491192135E-3</c:v>
                </c:pt>
                <c:pt idx="2339">
                  <c:v>4.3719300491192135E-3</c:v>
                </c:pt>
                <c:pt idx="2340">
                  <c:v>4.3719300491192135E-3</c:v>
                </c:pt>
                <c:pt idx="2341">
                  <c:v>4.3719300491192135E-3</c:v>
                </c:pt>
                <c:pt idx="2342">
                  <c:v>4.3719300491192135E-3</c:v>
                </c:pt>
                <c:pt idx="2343">
                  <c:v>4.3719300491192135E-3</c:v>
                </c:pt>
                <c:pt idx="2344">
                  <c:v>4.3719300491192135E-3</c:v>
                </c:pt>
                <c:pt idx="2345">
                  <c:v>4.3719300491192135E-3</c:v>
                </c:pt>
                <c:pt idx="2346">
                  <c:v>4.3719300491192135E-3</c:v>
                </c:pt>
                <c:pt idx="2347">
                  <c:v>4.3719300491192135E-3</c:v>
                </c:pt>
                <c:pt idx="2348">
                  <c:v>4.3719300491192135E-3</c:v>
                </c:pt>
                <c:pt idx="2349">
                  <c:v>4.3719300491192135E-3</c:v>
                </c:pt>
                <c:pt idx="2350">
                  <c:v>4.3719300491192135E-3</c:v>
                </c:pt>
                <c:pt idx="2351">
                  <c:v>4.3719300491192135E-3</c:v>
                </c:pt>
                <c:pt idx="2352">
                  <c:v>4.3719300491192135E-3</c:v>
                </c:pt>
                <c:pt idx="2353">
                  <c:v>4.3719300491192135E-3</c:v>
                </c:pt>
                <c:pt idx="2354">
                  <c:v>4.3719300491192135E-3</c:v>
                </c:pt>
                <c:pt idx="2355">
                  <c:v>4.3719300491192135E-3</c:v>
                </c:pt>
                <c:pt idx="2356">
                  <c:v>4.3719300491192135E-3</c:v>
                </c:pt>
                <c:pt idx="2357">
                  <c:v>4.3719300491192135E-3</c:v>
                </c:pt>
                <c:pt idx="2358">
                  <c:v>4.3719300491192135E-3</c:v>
                </c:pt>
                <c:pt idx="2359">
                  <c:v>4.3719300491192135E-3</c:v>
                </c:pt>
                <c:pt idx="2360">
                  <c:v>4.3719300491192135E-3</c:v>
                </c:pt>
                <c:pt idx="2361">
                  <c:v>4.3719300491192135E-3</c:v>
                </c:pt>
                <c:pt idx="2362">
                  <c:v>4.3719300491192135E-3</c:v>
                </c:pt>
                <c:pt idx="2363">
                  <c:v>4.3719300491192135E-3</c:v>
                </c:pt>
                <c:pt idx="2364">
                  <c:v>4.3719300491192135E-3</c:v>
                </c:pt>
                <c:pt idx="2365">
                  <c:v>4.3719300491192135E-3</c:v>
                </c:pt>
                <c:pt idx="2366">
                  <c:v>4.3719300491192135E-3</c:v>
                </c:pt>
                <c:pt idx="2367">
                  <c:v>4.3719300491192135E-3</c:v>
                </c:pt>
                <c:pt idx="2368">
                  <c:v>4.3719300491192135E-3</c:v>
                </c:pt>
                <c:pt idx="2369">
                  <c:v>4.3719300491192135E-3</c:v>
                </c:pt>
                <c:pt idx="2370">
                  <c:v>4.3719300491192135E-3</c:v>
                </c:pt>
                <c:pt idx="2371">
                  <c:v>4.3719300491192135E-3</c:v>
                </c:pt>
                <c:pt idx="2372">
                  <c:v>4.3719300491192135E-3</c:v>
                </c:pt>
                <c:pt idx="2373">
                  <c:v>4.3719300491192135E-3</c:v>
                </c:pt>
                <c:pt idx="2374">
                  <c:v>4.3719300491192135E-3</c:v>
                </c:pt>
                <c:pt idx="2375">
                  <c:v>4.3719300491192135E-3</c:v>
                </c:pt>
                <c:pt idx="2376">
                  <c:v>4.3719300491192135E-3</c:v>
                </c:pt>
                <c:pt idx="2377">
                  <c:v>4.3719300491192135E-3</c:v>
                </c:pt>
                <c:pt idx="2378">
                  <c:v>4.3719300491192135E-3</c:v>
                </c:pt>
                <c:pt idx="2379">
                  <c:v>4.3719300491192135E-3</c:v>
                </c:pt>
                <c:pt idx="2380">
                  <c:v>4.3719300491192135E-3</c:v>
                </c:pt>
                <c:pt idx="2381">
                  <c:v>4.3719300491192135E-3</c:v>
                </c:pt>
                <c:pt idx="2382">
                  <c:v>4.3719300491192135E-3</c:v>
                </c:pt>
                <c:pt idx="2383">
                  <c:v>4.3719300491192135E-3</c:v>
                </c:pt>
                <c:pt idx="2384">
                  <c:v>4.3719300491192135E-3</c:v>
                </c:pt>
                <c:pt idx="2385">
                  <c:v>4.3719300491192135E-3</c:v>
                </c:pt>
                <c:pt idx="2386">
                  <c:v>4.3719300491192135E-3</c:v>
                </c:pt>
                <c:pt idx="2387">
                  <c:v>4.3719300491192135E-3</c:v>
                </c:pt>
                <c:pt idx="2388">
                  <c:v>4.3719300491192135E-3</c:v>
                </c:pt>
                <c:pt idx="2389">
                  <c:v>4.3719300491192135E-3</c:v>
                </c:pt>
                <c:pt idx="2390">
                  <c:v>4.3719300491192135E-3</c:v>
                </c:pt>
                <c:pt idx="2391">
                  <c:v>4.3719300491192135E-3</c:v>
                </c:pt>
                <c:pt idx="2392">
                  <c:v>4.3719300491192135E-3</c:v>
                </c:pt>
                <c:pt idx="2393">
                  <c:v>4.3719300491192135E-3</c:v>
                </c:pt>
                <c:pt idx="2394">
                  <c:v>4.3719300491192135E-3</c:v>
                </c:pt>
                <c:pt idx="2395">
                  <c:v>4.3719300491192135E-3</c:v>
                </c:pt>
                <c:pt idx="2396">
                  <c:v>4.3719300491192135E-3</c:v>
                </c:pt>
                <c:pt idx="2397">
                  <c:v>4.3719300491192135E-3</c:v>
                </c:pt>
                <c:pt idx="2398">
                  <c:v>4.3719300491192135E-3</c:v>
                </c:pt>
                <c:pt idx="2399">
                  <c:v>4.3719300491192135E-3</c:v>
                </c:pt>
              </c:numCache>
            </c:numRef>
          </c:val>
          <c:smooth val="1"/>
          <c:extLst>
            <c:ext xmlns:c16="http://schemas.microsoft.com/office/drawing/2014/chart" uri="{C3380CC4-5D6E-409C-BE32-E72D297353CC}">
              <c16:uniqueId val="{00000002-9927-4F4B-AD84-C53C69104B2B}"/>
            </c:ext>
          </c:extLst>
        </c:ser>
        <c:dLbls>
          <c:showLegendKey val="0"/>
          <c:showVal val="0"/>
          <c:showCatName val="0"/>
          <c:showSerName val="0"/>
          <c:showPercent val="0"/>
          <c:showBubbleSize val="0"/>
        </c:dLbls>
        <c:marker val="1"/>
        <c:smooth val="0"/>
        <c:axId val="1672458160"/>
        <c:axId val="1795393056"/>
      </c:lineChart>
      <c:catAx>
        <c:axId val="1656102543"/>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a:t>Masse en ordre de marche (kg)</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 ##0_ ;\-#\ ##0\ " sourceLinked="1"/>
        <c:majorTickMark val="none"/>
        <c:minorTickMark val="none"/>
        <c:tickLblPos val="low"/>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6099215"/>
        <c:crosses val="autoZero"/>
        <c:auto val="1"/>
        <c:lblAlgn val="ctr"/>
        <c:lblOffset val="100"/>
        <c:tickLblSkip val="100"/>
        <c:tickMarkSkip val="2"/>
        <c:noMultiLvlLbl val="0"/>
      </c:catAx>
      <c:valAx>
        <c:axId val="1656099215"/>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a:t>Montant du malus masse</a:t>
                </a:r>
              </a:p>
            </c:rich>
          </c:tx>
          <c:layout>
            <c:manualLayout>
              <c:xMode val="edge"/>
              <c:yMode val="edge"/>
              <c:x val="1.1234007019927536E-2"/>
              <c:y val="0.17378826075967416"/>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 &quot;€&quot;"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56102543"/>
        <c:crossesAt val="1"/>
        <c:crossBetween val="midCat"/>
      </c:valAx>
      <c:valAx>
        <c:axId val="1795393056"/>
        <c:scaling>
          <c:orientation val="minMax"/>
          <c:max val="0.30000000000000004"/>
          <c:min val="0"/>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fr-FR"/>
                  <a:t>Part des immatriculations neuves</a:t>
                </a:r>
              </a:p>
            </c:rich>
          </c:tx>
          <c:layout>
            <c:manualLayout>
              <c:xMode val="edge"/>
              <c:yMode val="edge"/>
              <c:x val="0.94567234205163042"/>
              <c:y val="0.11205906560468687"/>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de-DE"/>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1672458160"/>
        <c:crosses val="max"/>
        <c:crossBetween val="between"/>
      </c:valAx>
      <c:catAx>
        <c:axId val="1672458160"/>
        <c:scaling>
          <c:orientation val="minMax"/>
        </c:scaling>
        <c:delete val="1"/>
        <c:axPos val="b"/>
        <c:majorTickMark val="out"/>
        <c:minorTickMark val="none"/>
        <c:tickLblPos val="nextTo"/>
        <c:crossAx val="1795393056"/>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pitchFamily="34" charset="0"/>
              </a:defRPr>
            </a:lvl1pPr>
          </a:lstStyle>
          <a:p>
            <a:endParaRPr lang="fr-FR" dirty="0"/>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Arial" pitchFamily="34" charset="0"/>
              </a:defRPr>
            </a:lvl1pPr>
          </a:lstStyle>
          <a:p>
            <a:fld id="{D680E798-53FF-4C51-A981-953463752515}" type="datetimeFigureOut">
              <a:rPr lang="fr-FR" smtClean="0"/>
              <a:pPr/>
              <a:t>05/11/2024</a:t>
            </a:fld>
            <a:endParaRPr lang="fr-FR" dirty="0"/>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Arial" pitchFamily="34" charset="0"/>
              </a:defRPr>
            </a:lvl1pPr>
          </a:lstStyle>
          <a:p>
            <a:fld id="{1B06CD8F-B7ED-4A05-9FB1-A01CC0EF02CC}" type="slidenum">
              <a:rPr lang="fr-FR" smtClean="0"/>
              <a:pPr/>
              <a:t>‹N°›</a:t>
            </a:fld>
            <a:endParaRPr lang="fr-FR" dirty="0"/>
          </a:p>
        </p:txBody>
      </p:sp>
    </p:spTree>
    <p:extLst>
      <p:ext uri="{BB962C8B-B14F-4D97-AF65-F5344CB8AC3E}">
        <p14:creationId xmlns:p14="http://schemas.microsoft.com/office/powerpoint/2010/main" val="4116626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1B06CD8F-B7ED-4A05-9FB1-A01CC0EF02CC}" type="slidenum">
              <a:rPr lang="fr-FR" smtClean="0"/>
              <a:pPr/>
              <a:t>10</a:t>
            </a:fld>
            <a:endParaRPr lang="fr-FR" dirty="0"/>
          </a:p>
        </p:txBody>
      </p:sp>
    </p:spTree>
    <p:extLst>
      <p:ext uri="{BB962C8B-B14F-4D97-AF65-F5344CB8AC3E}">
        <p14:creationId xmlns:p14="http://schemas.microsoft.com/office/powerpoint/2010/main" val="42061504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uvertu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r>
              <a:rPr lang="fr-FR"/>
              <a:t>XX/XX/XXXX</a:t>
            </a:r>
            <a:endParaRPr lang="fr-FR" dirty="0"/>
          </a:p>
        </p:txBody>
      </p:sp>
      <p:sp>
        <p:nvSpPr>
          <p:cNvPr id="6" name="Espace réservé du numéro de diapositive 5"/>
          <p:cNvSpPr>
            <a:spLocks noGrp="1"/>
          </p:cNvSpPr>
          <p:nvPr>
            <p:ph type="sldNum" sz="quarter" idx="12"/>
          </p:nvPr>
        </p:nvSpPr>
        <p:spPr bwMode="gray">
          <a:xfrm>
            <a:off x="0" y="4963500"/>
            <a:ext cx="180000" cy="180000"/>
          </a:xfrm>
          <a:ln>
            <a:solidFill>
              <a:schemeClr val="tx1">
                <a:alpha val="0"/>
              </a:schemeClr>
            </a:solidFill>
          </a:ln>
        </p:spPr>
        <p:txBody>
          <a:bodyPr/>
          <a:lstStyle>
            <a:lvl1pPr>
              <a:defRPr sz="100">
                <a:solidFill>
                  <a:schemeClr val="tx1">
                    <a:alpha val="0"/>
                  </a:schemeClr>
                </a:solidFill>
              </a:defRPr>
            </a:lvl1pPr>
          </a:lstStyle>
          <a:p>
            <a:fld id="{10C140CD-8AED-46FF-A9A2-77308F3F39AE}" type="slidenum">
              <a:rPr lang="fr-FR" smtClean="0"/>
              <a:pPr/>
              <a:t>‹N°›</a:t>
            </a:fld>
            <a:endParaRPr lang="fr-FR" dirty="0"/>
          </a:p>
        </p:txBody>
      </p:sp>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sp>
        <p:nvSpPr>
          <p:cNvPr id="5" name="Espace réservé du pied de page 4"/>
          <p:cNvSpPr>
            <a:spLocks noGrp="1"/>
          </p:cNvSpPr>
          <p:nvPr>
            <p:ph type="ftr" sz="quarter" idx="11"/>
          </p:nvPr>
        </p:nvSpPr>
        <p:spPr bwMode="gray">
          <a:xfrm>
            <a:off x="755936" y="3919897"/>
            <a:ext cx="3240000" cy="900000"/>
          </a:xfrm>
        </p:spPr>
        <p:txBody>
          <a:bodyPr anchor="b" anchorCtr="0"/>
          <a:lstStyle>
            <a:lvl1pPr>
              <a:defRPr sz="1150"/>
            </a:lvl1pPr>
          </a:lstStyle>
          <a:p>
            <a:r>
              <a:rPr lang="fr-FR" dirty="0"/>
              <a:t>Intitulé de la direction/service interministérielle</a:t>
            </a:r>
          </a:p>
        </p:txBody>
      </p:sp>
      <p:pic>
        <p:nvPicPr>
          <p:cNvPr id="8" name="Image 7">
            <a:extLst>
              <a:ext uri="{FF2B5EF4-FFF2-40B4-BE49-F238E27FC236}">
                <a16:creationId xmlns:a16="http://schemas.microsoft.com/office/drawing/2014/main" id="{599FB7B2-8E8C-40BA-A680-BE1383243493}"/>
              </a:ext>
            </a:extLst>
          </p:cNvPr>
          <p:cNvPicPr>
            <a:picLocks noChangeAspect="1"/>
          </p:cNvPicPr>
          <p:nvPr userDrawn="1"/>
        </p:nvPicPr>
        <p:blipFill>
          <a:blip r:embed="rId2"/>
          <a:srcRect/>
          <a:stretch/>
        </p:blipFill>
        <p:spPr>
          <a:xfrm>
            <a:off x="425633" y="564669"/>
            <a:ext cx="4788000" cy="3676373"/>
          </a:xfrm>
          <a:prstGeom prst="rect">
            <a:avLst/>
          </a:prstGeom>
        </p:spPr>
      </p:pic>
    </p:spTree>
    <p:extLst>
      <p:ext uri="{BB962C8B-B14F-4D97-AF65-F5344CB8AC3E}">
        <p14:creationId xmlns:p14="http://schemas.microsoft.com/office/powerpoint/2010/main" val="3432610956"/>
      </p:ext>
    </p:extLst>
  </p:cSld>
  <p:clrMapOvr>
    <a:masterClrMapping/>
  </p:clrMapOvr>
  <p:extLst>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re et sous-titre">
    <p:spTree>
      <p:nvGrpSpPr>
        <p:cNvPr id="1" name=""/>
        <p:cNvGrpSpPr/>
        <p:nvPr/>
      </p:nvGrpSpPr>
      <p:grpSpPr>
        <a:xfrm>
          <a:off x="0" y="0"/>
          <a:ext cx="0" cy="0"/>
          <a:chOff x="0" y="0"/>
          <a:chExt cx="0" cy="0"/>
        </a:xfrm>
      </p:grpSpPr>
      <p:sp>
        <p:nvSpPr>
          <p:cNvPr id="7" name="Titre 6"/>
          <p:cNvSpPr>
            <a:spLocks noGrp="1"/>
          </p:cNvSpPr>
          <p:nvPr>
            <p:ph type="title" hasCustomPrompt="1"/>
          </p:nvPr>
        </p:nvSpPr>
        <p:spPr bwMode="gray">
          <a:xfrm>
            <a:off x="0" y="0"/>
            <a:ext cx="180000" cy="180000"/>
          </a:xfrm>
          <a:ln>
            <a:solidFill>
              <a:schemeClr val="tx1">
                <a:alpha val="0"/>
              </a:schemeClr>
            </a:solidFill>
          </a:ln>
        </p:spPr>
        <p:txBody>
          <a:bodyPr/>
          <a:lstStyle>
            <a:lvl1pPr>
              <a:defRPr sz="100">
                <a:solidFill>
                  <a:schemeClr val="tx1">
                    <a:alpha val="0"/>
                  </a:schemeClr>
                </a:solidFill>
              </a:defRPr>
            </a:lvl1pPr>
          </a:lstStyle>
          <a:p>
            <a:r>
              <a:rPr lang="fr-FR" dirty="0"/>
              <a:t>Titre</a:t>
            </a:r>
          </a:p>
        </p:txBody>
      </p:sp>
      <p:sp>
        <p:nvSpPr>
          <p:cNvPr id="2" name="Espace réservé de la date 1"/>
          <p:cNvSpPr>
            <a:spLocks noGrp="1"/>
          </p:cNvSpPr>
          <p:nvPr>
            <p:ph type="dt" sz="half" idx="10"/>
          </p:nvPr>
        </p:nvSpPr>
        <p:spPr bwMode="gray"/>
        <p:txBody>
          <a:bodyPr/>
          <a:lstStyle/>
          <a:p>
            <a:pPr algn="r"/>
            <a:r>
              <a:rPr lang="fr-FR" cap="all"/>
              <a:t>XX/XX/XXXX</a:t>
            </a:r>
            <a:endParaRPr lang="fr-FR" cap="all" dirty="0"/>
          </a:p>
        </p:txBody>
      </p:sp>
      <p:sp>
        <p:nvSpPr>
          <p:cNvPr id="3" name="Espace réservé du pied de page 2"/>
          <p:cNvSpPr>
            <a:spLocks noGrp="1"/>
          </p:cNvSpPr>
          <p:nvPr>
            <p:ph type="ftr" sz="quarter" idx="11"/>
          </p:nvPr>
        </p:nvSpPr>
        <p:spPr bwMode="gray"/>
        <p:txBody>
          <a:bodyPr/>
          <a:lstStyle/>
          <a:p>
            <a:r>
              <a:rPr lang="fr-FR"/>
              <a:t>Intitulé de la direction/service interministérielle</a:t>
            </a:r>
            <a:endParaRPr lang="fr-FR" dirty="0"/>
          </a:p>
        </p:txBody>
      </p:sp>
      <p:sp>
        <p:nvSpPr>
          <p:cNvPr id="8" name="Espace réservé du numéro de diapositive 7"/>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1" name="Espace réservé du texte 10"/>
          <p:cNvSpPr>
            <a:spLocks noGrp="1"/>
          </p:cNvSpPr>
          <p:nvPr>
            <p:ph type="body" sz="quarter" idx="13" hasCustomPrompt="1"/>
          </p:nvPr>
        </p:nvSpPr>
        <p:spPr bwMode="gray">
          <a:xfrm>
            <a:off x="360000" y="2499742"/>
            <a:ext cx="8424000" cy="1923504"/>
          </a:xfrm>
        </p:spPr>
        <p:txBody>
          <a:bodyPr/>
          <a:lstStyle>
            <a:lvl1pPr>
              <a:lnSpc>
                <a:spcPct val="90000"/>
              </a:lnSpc>
              <a:spcAft>
                <a:spcPts val="0"/>
              </a:spcAft>
              <a:defRPr sz="3250" b="1" cap="all" baseline="0"/>
            </a:lvl1pPr>
            <a:lvl2pPr marL="0" indent="0">
              <a:spcBef>
                <a:spcPts val="500"/>
              </a:spcBef>
              <a:spcAft>
                <a:spcPts val="0"/>
              </a:spcAft>
              <a:buNone/>
              <a:defRPr sz="1850"/>
            </a:lvl2pPr>
          </a:lstStyle>
          <a:p>
            <a:pPr lvl="0"/>
            <a:r>
              <a:rPr lang="fr-FR" dirty="0"/>
              <a:t>Titre</a:t>
            </a:r>
          </a:p>
          <a:p>
            <a:pPr lvl="1"/>
            <a:r>
              <a:rPr lang="fr-FR" dirty="0"/>
              <a:t>Sous-titre</a:t>
            </a:r>
          </a:p>
        </p:txBody>
      </p:sp>
      <p:cxnSp>
        <p:nvCxnSpPr>
          <p:cNvPr id="12" name="Connecteur droit 11"/>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6" name="Image 5">
            <a:extLst>
              <a:ext uri="{FF2B5EF4-FFF2-40B4-BE49-F238E27FC236}">
                <a16:creationId xmlns:a16="http://schemas.microsoft.com/office/drawing/2014/main" id="{C69B1212-F82B-4659-A550-AEA097DD8177}"/>
              </a:ext>
            </a:extLst>
          </p:cNvPr>
          <p:cNvPicPr>
            <a:picLocks noChangeAspect="1"/>
          </p:cNvPicPr>
          <p:nvPr userDrawn="1"/>
        </p:nvPicPr>
        <p:blipFill>
          <a:blip r:embed="rId2"/>
          <a:srcRect/>
          <a:stretch/>
        </p:blipFill>
        <p:spPr>
          <a:xfrm>
            <a:off x="241995" y="403890"/>
            <a:ext cx="2412000" cy="1852008"/>
          </a:xfrm>
          <a:prstGeom prst="rect">
            <a:avLst/>
          </a:prstGeom>
        </p:spPr>
      </p:pic>
    </p:spTree>
    <p:extLst>
      <p:ext uri="{BB962C8B-B14F-4D97-AF65-F5344CB8AC3E}">
        <p14:creationId xmlns:p14="http://schemas.microsoft.com/office/powerpoint/2010/main" val="34839045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ommaire">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900000"/>
            <a:ext cx="8424000" cy="720000"/>
          </a:xfrm>
        </p:spPr>
        <p:txBody>
          <a:bodyPr/>
          <a:lstStyle>
            <a:lvl1pPr>
              <a:defRPr/>
            </a:lvl1pPr>
          </a:lstStyle>
          <a:p>
            <a:r>
              <a:rPr lang="fr-FR" dirty="0"/>
              <a:t>Titre</a:t>
            </a:r>
          </a:p>
        </p:txBody>
      </p:sp>
      <p:sp>
        <p:nvSpPr>
          <p:cNvPr id="3" name="Espace réservé de la date 2"/>
          <p:cNvSpPr>
            <a:spLocks noGrp="1"/>
          </p:cNvSpPr>
          <p:nvPr>
            <p:ph type="dt" sz="half" idx="10"/>
          </p:nvPr>
        </p:nvSpPr>
        <p:spPr bwMode="gray"/>
        <p:txBody>
          <a:bodyPr/>
          <a:lstStyle/>
          <a:p>
            <a:pPr algn="r"/>
            <a:r>
              <a:rPr lang="fr-FR" cap="all"/>
              <a:t>XX/XX/XXXX</a:t>
            </a:r>
            <a:endParaRPr lang="fr-FR" cap="all" dirty="0"/>
          </a:p>
        </p:txBody>
      </p:sp>
      <p:sp>
        <p:nvSpPr>
          <p:cNvPr id="4" name="Espace réservé du pied de page 3"/>
          <p:cNvSpPr>
            <a:spLocks noGrp="1"/>
          </p:cNvSpPr>
          <p:nvPr>
            <p:ph type="ftr" sz="quarter" idx="11"/>
          </p:nvPr>
        </p:nvSpPr>
        <p:spPr bwMode="gray"/>
        <p:txBody>
          <a:bodyPr/>
          <a:lstStyle/>
          <a:p>
            <a:r>
              <a:rPr lang="fr-FR"/>
              <a:t>Intitulé de la direction/service interministérielle</a:t>
            </a:r>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8" name="Espace réservé du texte 7"/>
          <p:cNvSpPr>
            <a:spLocks noGrp="1"/>
          </p:cNvSpPr>
          <p:nvPr>
            <p:ph type="body" sz="quarter" idx="13" hasCustomPrompt="1"/>
          </p:nvPr>
        </p:nvSpPr>
        <p:spPr bwMode="gray">
          <a:xfrm>
            <a:off x="359998" y="1891968"/>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9" name="Espace réservé du texte 7"/>
          <p:cNvSpPr>
            <a:spLocks noGrp="1"/>
          </p:cNvSpPr>
          <p:nvPr>
            <p:ph type="body" sz="quarter" idx="14" hasCustomPrompt="1"/>
          </p:nvPr>
        </p:nvSpPr>
        <p:spPr bwMode="gray">
          <a:xfrm>
            <a:off x="3312000" y="1893600"/>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
        <p:nvSpPr>
          <p:cNvPr id="10" name="Espace réservé du texte 7"/>
          <p:cNvSpPr>
            <a:spLocks noGrp="1"/>
          </p:cNvSpPr>
          <p:nvPr>
            <p:ph type="body" sz="quarter" idx="15" hasCustomPrompt="1"/>
          </p:nvPr>
        </p:nvSpPr>
        <p:spPr bwMode="gray">
          <a:xfrm>
            <a:off x="6263999" y="1893600"/>
            <a:ext cx="2520000" cy="2530800"/>
          </a:xfrm>
        </p:spPr>
        <p:txBody>
          <a:bodyPr/>
          <a:lstStyle>
            <a:lvl1pPr marL="144000" indent="-144000">
              <a:spcBef>
                <a:spcPts val="400"/>
              </a:spcBef>
              <a:spcAft>
                <a:spcPts val="800"/>
              </a:spcAft>
              <a:buFont typeface="+mj-lt"/>
              <a:buAutoNum type="arabicPeriod"/>
              <a:defRPr b="1"/>
            </a:lvl1pPr>
            <a:lvl2pPr marL="324000" indent="-144000">
              <a:spcBef>
                <a:spcPts val="600"/>
              </a:spcBef>
              <a:spcAft>
                <a:spcPts val="800"/>
              </a:spcAft>
              <a:buFont typeface="+mj-lt"/>
              <a:buAutoNum type="alphaLcPeriod"/>
              <a:defRPr/>
            </a:lvl2pPr>
          </a:lstStyle>
          <a:p>
            <a:pPr lvl="0"/>
            <a:r>
              <a:rPr lang="fr-FR" dirty="0"/>
              <a:t>Titre de la partie</a:t>
            </a:r>
          </a:p>
          <a:p>
            <a:pPr lvl="1"/>
            <a:r>
              <a:rPr lang="fr-FR" dirty="0"/>
              <a:t>Deuxième niveau</a:t>
            </a:r>
          </a:p>
        </p:txBody>
      </p:sp>
    </p:spTree>
    <p:extLst>
      <p:ext uri="{BB962C8B-B14F-4D97-AF65-F5344CB8AC3E}">
        <p14:creationId xmlns:p14="http://schemas.microsoft.com/office/powerpoint/2010/main" val="16410304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hapitre">
    <p:spTree>
      <p:nvGrpSpPr>
        <p:cNvPr id="1" name=""/>
        <p:cNvGrpSpPr/>
        <p:nvPr/>
      </p:nvGrpSpPr>
      <p:grpSpPr>
        <a:xfrm>
          <a:off x="0" y="0"/>
          <a:ext cx="0" cy="0"/>
          <a:chOff x="0" y="0"/>
          <a:chExt cx="0" cy="0"/>
        </a:xfrm>
      </p:grpSpPr>
      <p:sp>
        <p:nvSpPr>
          <p:cNvPr id="8" name="Espace réservé pour une image  7"/>
          <p:cNvSpPr>
            <a:spLocks noGrp="1"/>
          </p:cNvSpPr>
          <p:nvPr>
            <p:ph type="pic" sz="quarter" idx="13" hasCustomPrompt="1"/>
          </p:nvPr>
        </p:nvSpPr>
        <p:spPr bwMode="gray">
          <a:xfrm>
            <a:off x="0" y="843558"/>
            <a:ext cx="9144000" cy="4300842"/>
          </a:xfrm>
          <a:solidFill>
            <a:schemeClr val="bg1">
              <a:lumMod val="85000"/>
            </a:schemeClr>
          </a:solidFill>
        </p:spPr>
        <p:txBody>
          <a:bodyPr tIns="1080000" anchor="ctr" anchorCtr="0"/>
          <a:lstStyle>
            <a:lvl1pPr algn="ctr">
              <a:defRPr cap="all" baseline="0"/>
            </a:lvl1pPr>
          </a:lstStyle>
          <a:p>
            <a:r>
              <a:rPr lang="fr-FR" dirty="0"/>
              <a:t>Sélectionner l’icône pour insérer une image, </a:t>
            </a:r>
            <a:br>
              <a:rPr lang="fr-FR" dirty="0"/>
            </a:br>
            <a:r>
              <a:rPr lang="fr-FR" dirty="0"/>
              <a:t>puis disposer l’image en arrière plan </a:t>
            </a:r>
            <a:br>
              <a:rPr lang="fr-FR" dirty="0"/>
            </a:br>
            <a:r>
              <a:rPr lang="fr-FR" dirty="0"/>
              <a:t>(Sélectionner l’image avec le bouton droit de la souris / </a:t>
            </a:r>
            <a:br>
              <a:rPr lang="fr-FR" dirty="0"/>
            </a:br>
            <a:r>
              <a:rPr lang="fr-FR" dirty="0"/>
              <a:t>Mettre à l’arrière plan)</a:t>
            </a:r>
          </a:p>
        </p:txBody>
      </p:sp>
      <p:sp>
        <p:nvSpPr>
          <p:cNvPr id="2" name="Titre 1"/>
          <p:cNvSpPr>
            <a:spLocks noGrp="1"/>
          </p:cNvSpPr>
          <p:nvPr>
            <p:ph type="title" hasCustomPrompt="1"/>
          </p:nvPr>
        </p:nvSpPr>
        <p:spPr bwMode="gray">
          <a:xfrm>
            <a:off x="359999" y="738000"/>
            <a:ext cx="8424000" cy="4046400"/>
          </a:xfrm>
          <a:custGeom>
            <a:avLst/>
            <a:gdLst>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 name="connsiteX2" fmla="*/ 8424000 w 8424000"/>
              <a:gd name="connsiteY2" fmla="*/ 0 h 4046400"/>
              <a:gd name="connsiteX0" fmla="*/ 8424000 w 8424000"/>
              <a:gd name="connsiteY0" fmla="*/ 4046400 h 4046400"/>
              <a:gd name="connsiteX1" fmla="*/ 0 w 8424000"/>
              <a:gd name="connsiteY1" fmla="*/ 4046360 h 4046400"/>
              <a:gd name="connsiteX2" fmla="*/ 0 w 8424000"/>
              <a:gd name="connsiteY2" fmla="*/ 40 h 4046400"/>
              <a:gd name="connsiteX3" fmla="*/ 8424000 w 8424000"/>
              <a:gd name="connsiteY3" fmla="*/ 0 h 4046400"/>
              <a:gd name="connsiteX4" fmla="*/ 8424000 w 8424000"/>
              <a:gd name="connsiteY4" fmla="*/ 4046400 h 4046400"/>
              <a:gd name="connsiteX0" fmla="*/ 8424000 w 8424000"/>
              <a:gd name="connsiteY0" fmla="*/ 4046400 h 4046400"/>
              <a:gd name="connsiteX1" fmla="*/ 0 w 8424000"/>
              <a:gd name="connsiteY1" fmla="*/ 4046360 h 4046400"/>
            </a:gdLst>
            <a:ahLst/>
            <a:cxnLst>
              <a:cxn ang="0">
                <a:pos x="connsiteX0" y="connsiteY0"/>
              </a:cxn>
              <a:cxn ang="0">
                <a:pos x="connsiteX1" y="connsiteY1"/>
              </a:cxn>
            </a:cxnLst>
            <a:rect l="l" t="t" r="r" b="b"/>
            <a:pathLst>
              <a:path w="8424000" h="4046400" stroke="0" extrusionOk="0">
                <a:moveTo>
                  <a:pt x="8424000" y="4046400"/>
                </a:moveTo>
                <a:lnTo>
                  <a:pt x="0" y="4046360"/>
                </a:lnTo>
                <a:lnTo>
                  <a:pt x="0" y="40"/>
                </a:lnTo>
                <a:cubicBezTo>
                  <a:pt x="0" y="18"/>
                  <a:pt x="3771553" y="0"/>
                  <a:pt x="8424000" y="0"/>
                </a:cubicBezTo>
                <a:lnTo>
                  <a:pt x="8424000" y="4046400"/>
                </a:lnTo>
                <a:close/>
              </a:path>
              <a:path w="8424000" h="4046400" fill="none">
                <a:moveTo>
                  <a:pt x="8424000" y="4046400"/>
                </a:moveTo>
                <a:lnTo>
                  <a:pt x="0" y="4046360"/>
                </a:lnTo>
              </a:path>
            </a:pathLst>
          </a:custGeom>
          <a:ln w="10160">
            <a:solidFill>
              <a:schemeClr val="tx1"/>
            </a:solidFill>
          </a:ln>
        </p:spPr>
        <p:txBody>
          <a:bodyPr lIns="0" bIns="360000" anchor="ctr" anchorCtr="0"/>
          <a:lstStyle>
            <a:lvl1pPr marL="396000" indent="-396000">
              <a:buFont typeface="+mj-lt"/>
              <a:buAutoNum type="arabicPeriod"/>
              <a:defRPr sz="3250"/>
            </a:lvl1pPr>
          </a:lstStyle>
          <a:p>
            <a:r>
              <a:rPr lang="fr-FR" dirty="0"/>
              <a:t>Titre</a:t>
            </a:r>
          </a:p>
        </p:txBody>
      </p:sp>
      <p:sp>
        <p:nvSpPr>
          <p:cNvPr id="3" name="Espace réservé de la date 2"/>
          <p:cNvSpPr>
            <a:spLocks noGrp="1"/>
          </p:cNvSpPr>
          <p:nvPr>
            <p:ph type="dt" sz="half" idx="10"/>
          </p:nvPr>
        </p:nvSpPr>
        <p:spPr bwMode="gray"/>
        <p:txBody>
          <a:bodyPr/>
          <a:lstStyle/>
          <a:p>
            <a:pPr algn="r"/>
            <a:r>
              <a:rPr lang="fr-FR" cap="all"/>
              <a:t>XX/XX/XXXX</a:t>
            </a:r>
            <a:endParaRPr lang="fr-FR" cap="all" dirty="0"/>
          </a:p>
        </p:txBody>
      </p:sp>
      <p:sp>
        <p:nvSpPr>
          <p:cNvPr id="4" name="Espace réservé du pied de page 3"/>
          <p:cNvSpPr>
            <a:spLocks noGrp="1"/>
          </p:cNvSpPr>
          <p:nvPr>
            <p:ph type="ftr" sz="quarter" idx="11"/>
          </p:nvPr>
        </p:nvSpPr>
        <p:spPr bwMode="gray"/>
        <p:txBody>
          <a:bodyPr/>
          <a:lstStyle/>
          <a:p>
            <a:r>
              <a:rPr lang="fr-FR"/>
              <a:t>Intitulé de la direction/service interministérielle</a:t>
            </a:r>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Tree>
    <p:extLst>
      <p:ext uri="{BB962C8B-B14F-4D97-AF65-F5344CB8AC3E}">
        <p14:creationId xmlns:p14="http://schemas.microsoft.com/office/powerpoint/2010/main" val="19085968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et textes 3 colonnes">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359999" y="900000"/>
            <a:ext cx="8424000" cy="720000"/>
          </a:xfrm>
        </p:spPr>
        <p:txBody>
          <a:bodyPr/>
          <a:lstStyle>
            <a:lvl1pPr>
              <a:defRPr/>
            </a:lvl1pPr>
          </a:lstStyle>
          <a:p>
            <a:r>
              <a:rPr lang="fr-FR" dirty="0"/>
              <a:t>Titre</a:t>
            </a:r>
          </a:p>
        </p:txBody>
      </p:sp>
      <p:sp>
        <p:nvSpPr>
          <p:cNvPr id="3" name="Espace réservé de la date 2"/>
          <p:cNvSpPr>
            <a:spLocks noGrp="1"/>
          </p:cNvSpPr>
          <p:nvPr>
            <p:ph type="dt" sz="half" idx="10"/>
          </p:nvPr>
        </p:nvSpPr>
        <p:spPr bwMode="gray"/>
        <p:txBody>
          <a:bodyPr/>
          <a:lstStyle/>
          <a:p>
            <a:pPr algn="r"/>
            <a:r>
              <a:rPr lang="fr-FR" cap="all"/>
              <a:t>XX/XX/XXXX</a:t>
            </a:r>
            <a:endParaRPr lang="fr-FR" cap="all" dirty="0"/>
          </a:p>
        </p:txBody>
      </p:sp>
      <p:sp>
        <p:nvSpPr>
          <p:cNvPr id="4" name="Espace réservé du pied de page 3"/>
          <p:cNvSpPr>
            <a:spLocks noGrp="1"/>
          </p:cNvSpPr>
          <p:nvPr>
            <p:ph type="ftr" sz="quarter" idx="11"/>
          </p:nvPr>
        </p:nvSpPr>
        <p:spPr bwMode="gray"/>
        <p:txBody>
          <a:bodyPr/>
          <a:lstStyle/>
          <a:p>
            <a:r>
              <a:rPr lang="fr-FR"/>
              <a:t>Intitulé de la direction/service interministérielle</a:t>
            </a:r>
            <a:endParaRPr lang="fr-FR" dirty="0"/>
          </a:p>
        </p:txBody>
      </p:sp>
      <p:sp>
        <p:nvSpPr>
          <p:cNvPr id="5" name="Espace réservé du numéro de diapositive 4"/>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10" name="Espace réservé du texte 9"/>
          <p:cNvSpPr>
            <a:spLocks noGrp="1"/>
          </p:cNvSpPr>
          <p:nvPr>
            <p:ph type="body" sz="quarter" idx="13" hasCustomPrompt="1"/>
          </p:nvPr>
        </p:nvSpPr>
        <p:spPr bwMode="gray">
          <a:xfrm>
            <a:off x="3312000" y="180000"/>
            <a:ext cx="5472000" cy="360000"/>
          </a:xfrm>
        </p:spPr>
        <p:txBody>
          <a:bodyPr/>
          <a:lstStyle>
            <a:lvl1pPr marL="108000" indent="-108000" algn="r">
              <a:spcAft>
                <a:spcPts val="0"/>
              </a:spcAft>
              <a:buFont typeface="+mj-lt"/>
              <a:buAutoNum type="arabicPeriod"/>
              <a:defRPr sz="750" b="1"/>
            </a:lvl1pPr>
            <a:lvl2pPr marL="108000" indent="-108000" algn="r">
              <a:spcBef>
                <a:spcPts val="0"/>
              </a:spcBef>
              <a:spcAft>
                <a:spcPts val="0"/>
              </a:spcAft>
              <a:buFont typeface="+mj-lt"/>
              <a:buAutoNum type="alphaLcPeriod"/>
              <a:defRPr sz="750"/>
            </a:lvl2pPr>
          </a:lstStyle>
          <a:p>
            <a:pPr lvl="0"/>
            <a:r>
              <a:rPr lang="fr-FR" dirty="0"/>
              <a:t>Titre</a:t>
            </a:r>
          </a:p>
          <a:p>
            <a:pPr lvl="1"/>
            <a:r>
              <a:rPr lang="fr-FR" dirty="0"/>
              <a:t>Sous-titre</a:t>
            </a:r>
          </a:p>
        </p:txBody>
      </p:sp>
      <p:sp>
        <p:nvSpPr>
          <p:cNvPr id="12" name="Espace réservé du texte 11"/>
          <p:cNvSpPr>
            <a:spLocks noGrp="1"/>
          </p:cNvSpPr>
          <p:nvPr>
            <p:ph type="body" sz="quarter" idx="14" hasCustomPrompt="1"/>
          </p:nvPr>
        </p:nvSpPr>
        <p:spPr bwMode="gray">
          <a:xfrm>
            <a:off x="359999"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3" name="Espace réservé du texte 11"/>
          <p:cNvSpPr>
            <a:spLocks noGrp="1"/>
          </p:cNvSpPr>
          <p:nvPr>
            <p:ph type="body" sz="quarter" idx="15" hasCustomPrompt="1"/>
          </p:nvPr>
        </p:nvSpPr>
        <p:spPr bwMode="gray">
          <a:xfrm>
            <a:off x="3312000"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4" name="Espace réservé du texte 11"/>
          <p:cNvSpPr>
            <a:spLocks noGrp="1"/>
          </p:cNvSpPr>
          <p:nvPr>
            <p:ph type="body" sz="quarter" idx="16" hasCustomPrompt="1"/>
          </p:nvPr>
        </p:nvSpPr>
        <p:spPr bwMode="gray">
          <a:xfrm>
            <a:off x="6264000" y="1836000"/>
            <a:ext cx="2520000" cy="2574000"/>
          </a:xfrm>
        </p:spPr>
        <p:txBody>
          <a:bodyPr/>
          <a:lstStyle>
            <a:lvl1pPr>
              <a:defRPr/>
            </a:lvl1pPr>
            <a:lvl2pPr>
              <a:defRPr/>
            </a:lvl2pPr>
            <a:lvl3pPr>
              <a:defRPr baseline="0"/>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Tree>
    <p:extLst>
      <p:ext uri="{BB962C8B-B14F-4D97-AF65-F5344CB8AC3E}">
        <p14:creationId xmlns:p14="http://schemas.microsoft.com/office/powerpoint/2010/main" val="38404549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re / sous-titre / texte">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5A4F0766-6309-644C-9BCE-2E607A270B78}"/>
              </a:ext>
            </a:extLst>
          </p:cNvPr>
          <p:cNvSpPr>
            <a:spLocks noGrp="1"/>
          </p:cNvSpPr>
          <p:nvPr>
            <p:ph type="sldNum" sz="quarter" idx="12"/>
          </p:nvPr>
        </p:nvSpPr>
        <p:spPr/>
        <p:txBody>
          <a:bodyPr/>
          <a:lstStyle>
            <a:lvl1pPr>
              <a:defRPr b="0"/>
            </a:lvl1pPr>
          </a:lstStyle>
          <a:p>
            <a:fld id="{733122C9-A0B9-462F-8757-0847AD287B63}" type="slidenum">
              <a:rPr lang="fr-FR" smtClean="0"/>
              <a:pPr/>
              <a:t>‹N°›</a:t>
            </a:fld>
            <a:endParaRPr lang="fr-FR" dirty="0"/>
          </a:p>
        </p:txBody>
      </p:sp>
      <p:sp>
        <p:nvSpPr>
          <p:cNvPr id="9" name="Espace réservé de la date 3">
            <a:extLst>
              <a:ext uri="{FF2B5EF4-FFF2-40B4-BE49-F238E27FC236}">
                <a16:creationId xmlns:a16="http://schemas.microsoft.com/office/drawing/2014/main" id="{E9918C01-3017-D749-B811-9FCBA8038409}"/>
              </a:ext>
            </a:extLst>
          </p:cNvPr>
          <p:cNvSpPr>
            <a:spLocks noGrp="1"/>
          </p:cNvSpPr>
          <p:nvPr>
            <p:ph type="dt" sz="half" idx="2"/>
          </p:nvPr>
        </p:nvSpPr>
        <p:spPr bwMode="gray">
          <a:xfrm>
            <a:off x="323850" y="4797632"/>
            <a:ext cx="756372" cy="260505"/>
          </a:xfrm>
          <a:prstGeom prst="rect">
            <a:avLst/>
          </a:prstGeom>
        </p:spPr>
        <p:txBody>
          <a:bodyPr vert="horz" lIns="0" tIns="0" rIns="0" bIns="0" rtlCol="0" anchor="ctr" anchorCtr="0">
            <a:noAutofit/>
          </a:bodyPr>
          <a:lstStyle>
            <a:lvl1pPr algn="l">
              <a:defRPr sz="750" b="0">
                <a:solidFill>
                  <a:schemeClr val="tx1"/>
                </a:solidFill>
              </a:defRPr>
            </a:lvl1pPr>
          </a:lstStyle>
          <a:p>
            <a:fld id="{FF07BA34-B53E-4BF6-B1D1-C05B0EEB94D8}" type="datetime1">
              <a:rPr lang="fr-FR" cap="all" smtClean="0"/>
              <a:t>05/11/2024</a:t>
            </a:fld>
            <a:endParaRPr lang="fr-FR" cap="all" dirty="0"/>
          </a:p>
        </p:txBody>
      </p:sp>
      <p:sp>
        <p:nvSpPr>
          <p:cNvPr id="19" name="Titre 18">
            <a:extLst>
              <a:ext uri="{FF2B5EF4-FFF2-40B4-BE49-F238E27FC236}">
                <a16:creationId xmlns:a16="http://schemas.microsoft.com/office/drawing/2014/main" id="{8B219A12-DAFE-504E-9ED9-CFD78BD6A790}"/>
              </a:ext>
            </a:extLst>
          </p:cNvPr>
          <p:cNvSpPr>
            <a:spLocks noGrp="1"/>
          </p:cNvSpPr>
          <p:nvPr>
            <p:ph type="title" hasCustomPrompt="1"/>
          </p:nvPr>
        </p:nvSpPr>
        <p:spPr/>
        <p:txBody>
          <a:bodyPr/>
          <a:lstStyle>
            <a:lvl1pPr>
              <a:defRPr/>
            </a:lvl1pPr>
          </a:lstStyle>
          <a:p>
            <a:r>
              <a:rPr lang="fr-FR" dirty="0"/>
              <a:t>[Titre]</a:t>
            </a:r>
          </a:p>
        </p:txBody>
      </p:sp>
      <p:sp>
        <p:nvSpPr>
          <p:cNvPr id="20" name="Espace réservé du pied de page 4">
            <a:extLst>
              <a:ext uri="{FF2B5EF4-FFF2-40B4-BE49-F238E27FC236}">
                <a16:creationId xmlns:a16="http://schemas.microsoft.com/office/drawing/2014/main" id="{99BFD6E0-B235-DA4F-9D70-E9444B53C48F}"/>
              </a:ext>
            </a:extLst>
          </p:cNvPr>
          <p:cNvSpPr>
            <a:spLocks noGrp="1"/>
          </p:cNvSpPr>
          <p:nvPr>
            <p:ph type="ftr" sz="quarter" idx="3"/>
          </p:nvPr>
        </p:nvSpPr>
        <p:spPr bwMode="gray">
          <a:xfrm>
            <a:off x="2868782" y="195486"/>
            <a:ext cx="5879931" cy="360000"/>
          </a:xfrm>
          <a:prstGeom prst="rect">
            <a:avLst/>
          </a:prstGeom>
        </p:spPr>
        <p:txBody>
          <a:bodyPr vert="horz" lIns="0" tIns="0" rIns="0" bIns="0" rtlCol="0" anchor="ctr" anchorCtr="0">
            <a:noAutofit/>
          </a:bodyPr>
          <a:lstStyle>
            <a:lvl1pPr algn="r">
              <a:defRPr sz="750" b="1">
                <a:solidFill>
                  <a:schemeClr val="tx1"/>
                </a:solidFill>
                <a:latin typeface="Marianne" panose="02000000000000000000" pitchFamily="2" charset="0"/>
              </a:defRPr>
            </a:lvl1pPr>
          </a:lstStyle>
          <a:p>
            <a:r>
              <a:rPr lang="fr-FR"/>
              <a:t>Secrétariat général à la planification écologique</a:t>
            </a:r>
            <a:endParaRPr lang="fr-FR" dirty="0"/>
          </a:p>
        </p:txBody>
      </p:sp>
      <p:sp>
        <p:nvSpPr>
          <p:cNvPr id="8" name="Espace réservé du texte 11">
            <a:extLst>
              <a:ext uri="{FF2B5EF4-FFF2-40B4-BE49-F238E27FC236}">
                <a16:creationId xmlns:a16="http://schemas.microsoft.com/office/drawing/2014/main" id="{0AF74C14-DE22-FE4D-B865-03FBE975D57C}"/>
              </a:ext>
            </a:extLst>
          </p:cNvPr>
          <p:cNvSpPr>
            <a:spLocks noGrp="1"/>
          </p:cNvSpPr>
          <p:nvPr>
            <p:ph type="body" sz="quarter" idx="14" hasCustomPrompt="1"/>
          </p:nvPr>
        </p:nvSpPr>
        <p:spPr bwMode="gray">
          <a:xfrm>
            <a:off x="323850" y="1363756"/>
            <a:ext cx="8424334" cy="3224219"/>
          </a:xfrm>
        </p:spPr>
        <p:txBody>
          <a:bodyPr/>
          <a:lstStyle>
            <a:lvl1pPr marL="0">
              <a:spcAft>
                <a:spcPts val="0"/>
              </a:spcAft>
              <a:defRPr/>
            </a:lvl1pPr>
            <a:lvl2pPr marL="179996" indent="0">
              <a:buNone/>
              <a:defRPr/>
            </a:lvl2pPr>
            <a:lvl3pPr>
              <a:defRPr baseline="0"/>
            </a:lvl3pPr>
            <a:lvl4pPr>
              <a:defRPr/>
            </a:lvl4pPr>
            <a:lvl5pPr>
              <a:defRPr/>
            </a:lvl5pPr>
          </a:lstStyle>
          <a:p>
            <a:pPr lvl="0"/>
            <a:r>
              <a:rPr lang="fr-FR" dirty="0"/>
              <a:t>Texte de niveau 1</a:t>
            </a:r>
          </a:p>
        </p:txBody>
      </p:sp>
      <p:sp>
        <p:nvSpPr>
          <p:cNvPr id="3" name="Espace réservé du texte 2"/>
          <p:cNvSpPr>
            <a:spLocks noGrp="1"/>
          </p:cNvSpPr>
          <p:nvPr>
            <p:ph type="body" sz="quarter" idx="15" hasCustomPrompt="1"/>
          </p:nvPr>
        </p:nvSpPr>
        <p:spPr>
          <a:xfrm>
            <a:off x="1080224" y="4783500"/>
            <a:ext cx="6318489" cy="274636"/>
          </a:xfrm>
        </p:spPr>
        <p:txBody>
          <a:bodyPr anchor="ctr"/>
          <a:lstStyle>
            <a:lvl1pPr>
              <a:defRPr sz="750" baseline="0">
                <a:solidFill>
                  <a:schemeClr val="tx1">
                    <a:lumMod val="50000"/>
                    <a:lumOff val="50000"/>
                  </a:schemeClr>
                </a:solidFill>
                <a:latin typeface="+mn-lt"/>
              </a:defRPr>
            </a:lvl1pPr>
          </a:lstStyle>
          <a:p>
            <a:pPr lvl="0"/>
            <a:r>
              <a:rPr lang="fr-FR" dirty="0"/>
              <a:t>Sources des données</a:t>
            </a:r>
          </a:p>
        </p:txBody>
      </p:sp>
    </p:spTree>
    <p:extLst>
      <p:ext uri="{BB962C8B-B14F-4D97-AF65-F5344CB8AC3E}">
        <p14:creationId xmlns:p14="http://schemas.microsoft.com/office/powerpoint/2010/main" val="17191832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
        <p:nvSpPr>
          <p:cNvPr id="2" name="TextShape 3"/>
          <p:cNvSpPr txBox="1"/>
          <p:nvPr userDrawn="1"/>
        </p:nvSpPr>
        <p:spPr>
          <a:xfrm>
            <a:off x="7614000" y="4783680"/>
            <a:ext cx="1169640" cy="359640"/>
          </a:xfrm>
          <a:prstGeom prst="rect">
            <a:avLst/>
          </a:prstGeom>
          <a:noFill/>
          <a:ln w="0">
            <a:noFill/>
          </a:ln>
        </p:spPr>
        <p:txBody>
          <a:bodyPr lIns="0" tIns="0" rIns="0" bIns="0" anchor="ctr">
            <a:noAutofit/>
          </a:bodyPr>
          <a:lstStyle/>
          <a:p>
            <a:pPr algn="r">
              <a:lnSpc>
                <a:spcPct val="100000"/>
              </a:lnSpc>
            </a:pPr>
            <a:r>
              <a:rPr lang="fr-FR" sz="750" b="1" strike="noStrike" cap="all" spc="-1" baseline="0" dirty="0">
                <a:solidFill>
                  <a:schemeClr val="tx1"/>
                </a:solidFill>
                <a:latin typeface="Marianne"/>
              </a:rPr>
              <a:t>12/10/2023</a:t>
            </a:r>
            <a:endParaRPr lang="fr-FR" sz="750" b="0" strike="noStrike" spc="-1" baseline="0" dirty="0">
              <a:solidFill>
                <a:schemeClr val="tx1"/>
              </a:solidFill>
              <a:latin typeface="Times New Roman"/>
            </a:endParaRPr>
          </a:p>
        </p:txBody>
      </p:sp>
    </p:spTree>
    <p:extLst>
      <p:ext uri="{BB962C8B-B14F-4D97-AF65-F5344CB8AC3E}">
        <p14:creationId xmlns:p14="http://schemas.microsoft.com/office/powerpoint/2010/main" val="1997569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sp>
        <p:nvSpPr>
          <p:cNvPr id="4" name="Titre 3"/>
          <p:cNvSpPr>
            <a:spLocks noGrp="1"/>
          </p:cNvSpPr>
          <p:nvPr>
            <p:ph type="title" hasCustomPrompt="1"/>
          </p:nvPr>
        </p:nvSpPr>
        <p:spPr bwMode="gray">
          <a:xfrm>
            <a:off x="359999" y="900000"/>
            <a:ext cx="8424000" cy="720000"/>
          </a:xfrm>
        </p:spPr>
        <p:txBody>
          <a:bodyPr/>
          <a:lstStyle/>
          <a:p>
            <a:r>
              <a:rPr lang="fr-FR" noProof="0" dirty="0"/>
              <a:t>Titre</a:t>
            </a:r>
            <a:endParaRPr lang="fr-FR" dirty="0"/>
          </a:p>
        </p:txBody>
      </p:sp>
      <p:sp>
        <p:nvSpPr>
          <p:cNvPr id="5" name="Espace réservé de la date 4"/>
          <p:cNvSpPr>
            <a:spLocks noGrp="1"/>
          </p:cNvSpPr>
          <p:nvPr>
            <p:ph type="dt" sz="half" idx="10"/>
          </p:nvPr>
        </p:nvSpPr>
        <p:spPr bwMode="gray"/>
        <p:txBody>
          <a:bodyPr/>
          <a:lstStyle/>
          <a:p>
            <a:pPr algn="r"/>
            <a:r>
              <a:rPr lang="fr-FR" cap="all"/>
              <a:t>XX/XX/XXXX</a:t>
            </a:r>
            <a:endParaRPr lang="fr-FR" cap="all" dirty="0"/>
          </a:p>
        </p:txBody>
      </p:sp>
      <p:sp>
        <p:nvSpPr>
          <p:cNvPr id="6" name="Espace réservé du pied de page 5"/>
          <p:cNvSpPr>
            <a:spLocks noGrp="1"/>
          </p:cNvSpPr>
          <p:nvPr>
            <p:ph type="ftr" sz="quarter" idx="11"/>
          </p:nvPr>
        </p:nvSpPr>
        <p:spPr bwMode="gray"/>
        <p:txBody>
          <a:bodyPr/>
          <a:lstStyle/>
          <a:p>
            <a:r>
              <a:rPr lang="fr-FR" dirty="0"/>
              <a:t>Intitulé de la direction/service interministérielle</a:t>
            </a:r>
          </a:p>
        </p:txBody>
      </p:sp>
      <p:sp>
        <p:nvSpPr>
          <p:cNvPr id="7" name="Espace réservé du numéro de diapositive 6"/>
          <p:cNvSpPr>
            <a:spLocks noGrp="1"/>
          </p:cNvSpPr>
          <p:nvPr>
            <p:ph type="sldNum" sz="quarter" idx="12"/>
          </p:nvPr>
        </p:nvSpPr>
        <p:spPr bwMode="gray"/>
        <p:txBody>
          <a:bodyPr/>
          <a:lstStyle/>
          <a:p>
            <a:fld id="{733122C9-A0B9-462F-8757-0847AD287B63}" type="slidenum">
              <a:rPr lang="fr-FR" smtClean="0"/>
              <a:pPr/>
              <a:t>‹N°›</a:t>
            </a:fld>
            <a:endParaRPr lang="fr-FR" dirty="0"/>
          </a:p>
        </p:txBody>
      </p:sp>
      <p:sp>
        <p:nvSpPr>
          <p:cNvPr id="9" name="Espace réservé du contenu 8"/>
          <p:cNvSpPr>
            <a:spLocks noGrp="1"/>
          </p:cNvSpPr>
          <p:nvPr>
            <p:ph sz="quarter" idx="14" hasCustomPrompt="1"/>
          </p:nvPr>
        </p:nvSpPr>
        <p:spPr bwMode="gray">
          <a:xfrm>
            <a:off x="359998" y="1836000"/>
            <a:ext cx="8424000" cy="2574000"/>
          </a:xfrm>
        </p:spPr>
        <p:txBody>
          <a:bodyPr/>
          <a:lstStyle>
            <a:lvl1pPr>
              <a:defRPr/>
            </a:lvl1pPr>
            <a:lvl2pPr>
              <a:defRPr/>
            </a:lvl2pPr>
            <a:lvl3pPr>
              <a:defRPr/>
            </a:lvl3pPr>
            <a:lvl4pPr>
              <a:defRPr/>
            </a:lvl4pPr>
            <a:lvl5pPr>
              <a:defRPr/>
            </a:lvl5pPr>
          </a:lstStyle>
          <a:p>
            <a:pPr lvl="0"/>
            <a:r>
              <a:rPr lang="fr-FR" dirty="0"/>
              <a:t>Texte de niveau 1</a:t>
            </a:r>
          </a:p>
          <a:p>
            <a:pPr lvl="1"/>
            <a:r>
              <a:rPr lang="fr-FR" dirty="0"/>
              <a:t>Texte de niveau 2</a:t>
            </a:r>
          </a:p>
          <a:p>
            <a:pPr lvl="2"/>
            <a:r>
              <a:rPr lang="fr-FR" dirty="0"/>
              <a:t>Texte de niveau 3</a:t>
            </a:r>
          </a:p>
          <a:p>
            <a:pPr lvl="3"/>
            <a:r>
              <a:rPr lang="fr-FR" dirty="0"/>
              <a:t>Texte de niveau 4</a:t>
            </a:r>
          </a:p>
          <a:p>
            <a:pPr lvl="4"/>
            <a:r>
              <a:rPr lang="fr-FR" dirty="0"/>
              <a:t>Texte de niveau 5</a:t>
            </a:r>
          </a:p>
        </p:txBody>
      </p:sp>
      <p:sp>
        <p:nvSpPr>
          <p:cNvPr id="15" name="Espace réservé du texte 9"/>
          <p:cNvSpPr>
            <a:spLocks noGrp="1"/>
          </p:cNvSpPr>
          <p:nvPr>
            <p:ph type="body" sz="quarter" idx="13" hasCustomPrompt="1"/>
          </p:nvPr>
        </p:nvSpPr>
        <p:spPr bwMode="gray">
          <a:xfrm>
            <a:off x="3312000" y="180000"/>
            <a:ext cx="5472000" cy="360000"/>
          </a:xfrm>
        </p:spPr>
        <p:txBody>
          <a:bodyPr/>
          <a:lstStyle>
            <a:lvl1pPr marL="108000" indent="-108000" algn="r">
              <a:spcAft>
                <a:spcPts val="0"/>
              </a:spcAft>
              <a:buFont typeface="+mj-lt"/>
              <a:buAutoNum type="arabicPeriod"/>
              <a:defRPr sz="750" b="1"/>
            </a:lvl1pPr>
            <a:lvl2pPr marL="108000" indent="-108000" algn="r">
              <a:spcBef>
                <a:spcPts val="0"/>
              </a:spcBef>
              <a:spcAft>
                <a:spcPts val="0"/>
              </a:spcAft>
              <a:buFont typeface="+mj-lt"/>
              <a:buAutoNum type="alphaLcPeriod"/>
              <a:defRPr sz="750"/>
            </a:lvl2pPr>
          </a:lstStyle>
          <a:p>
            <a:pPr lvl="0"/>
            <a:r>
              <a:rPr lang="fr-FR" dirty="0"/>
              <a:t>Titre</a:t>
            </a:r>
          </a:p>
          <a:p>
            <a:pPr lvl="1"/>
            <a:r>
              <a:rPr lang="fr-FR" dirty="0"/>
              <a:t>Sous-titre</a:t>
            </a:r>
          </a:p>
        </p:txBody>
      </p:sp>
    </p:spTree>
    <p:extLst>
      <p:ext uri="{BB962C8B-B14F-4D97-AF65-F5344CB8AC3E}">
        <p14:creationId xmlns:p14="http://schemas.microsoft.com/office/powerpoint/2010/main" val="20276812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bwMode="gray">
          <a:xfrm>
            <a:off x="359999" y="900000"/>
            <a:ext cx="8424000" cy="720000"/>
          </a:xfrm>
          <a:prstGeom prst="rect">
            <a:avLst/>
          </a:prstGeom>
        </p:spPr>
        <p:txBody>
          <a:bodyPr vert="horz" lIns="0" tIns="0" rIns="0" bIns="0" rtlCol="0" anchor="t" anchorCtr="0">
            <a:noAutofit/>
          </a:bodyPr>
          <a:lstStyle/>
          <a:p>
            <a:r>
              <a:rPr lang="fr-FR" noProof="0" dirty="0"/>
              <a:t>Titre</a:t>
            </a:r>
          </a:p>
        </p:txBody>
      </p:sp>
      <p:sp>
        <p:nvSpPr>
          <p:cNvPr id="3" name="Espace réservé du texte 2"/>
          <p:cNvSpPr>
            <a:spLocks noGrp="1"/>
          </p:cNvSpPr>
          <p:nvPr>
            <p:ph type="body" idx="1"/>
          </p:nvPr>
        </p:nvSpPr>
        <p:spPr bwMode="gray">
          <a:xfrm>
            <a:off x="359999" y="1836000"/>
            <a:ext cx="8424000" cy="2574000"/>
          </a:xfrm>
          <a:prstGeom prst="rect">
            <a:avLst/>
          </a:prstGeom>
        </p:spPr>
        <p:txBody>
          <a:bodyPr vert="horz" lIns="0" tIns="0" rIns="0" bIns="0" rtlCol="0" anchor="t" anchorCtr="0">
            <a:noAutofit/>
          </a:bodyPr>
          <a:lstStyle/>
          <a:p>
            <a:pPr lvl="0"/>
            <a:r>
              <a:rPr lang="fr-FR" noProof="0" dirty="0"/>
              <a:t>Texte de niveau 1</a:t>
            </a:r>
          </a:p>
          <a:p>
            <a:pPr lvl="1"/>
            <a:r>
              <a:rPr lang="fr-FR" noProof="0" dirty="0"/>
              <a:t>Texte de niveau 2</a:t>
            </a:r>
          </a:p>
          <a:p>
            <a:pPr lvl="2"/>
            <a:r>
              <a:rPr lang="fr-FR" noProof="0" dirty="0"/>
              <a:t>Texte de niveau 3</a:t>
            </a:r>
          </a:p>
          <a:p>
            <a:pPr lvl="3"/>
            <a:r>
              <a:rPr lang="fr-FR" noProof="0" dirty="0"/>
              <a:t>Texte de niveau 4</a:t>
            </a:r>
          </a:p>
          <a:p>
            <a:pPr lvl="4"/>
            <a:r>
              <a:rPr lang="fr-FR" noProof="0" dirty="0"/>
              <a:t>Texte de niveau 5</a:t>
            </a:r>
          </a:p>
        </p:txBody>
      </p:sp>
      <p:sp>
        <p:nvSpPr>
          <p:cNvPr id="4" name="Espace réservé de la date 3"/>
          <p:cNvSpPr>
            <a:spLocks noGrp="1"/>
          </p:cNvSpPr>
          <p:nvPr>
            <p:ph type="dt" sz="half" idx="2"/>
          </p:nvPr>
        </p:nvSpPr>
        <p:spPr bwMode="gray">
          <a:xfrm>
            <a:off x="7614000" y="4783500"/>
            <a:ext cx="1170000" cy="360000"/>
          </a:xfrm>
          <a:prstGeom prst="rect">
            <a:avLst/>
          </a:prstGeom>
        </p:spPr>
        <p:txBody>
          <a:bodyPr vert="horz" lIns="0" tIns="0" rIns="0" bIns="0" rtlCol="0" anchor="ctr" anchorCtr="0">
            <a:noAutofit/>
          </a:bodyPr>
          <a:lstStyle>
            <a:lvl1pPr algn="ctr">
              <a:defRPr sz="750" b="1">
                <a:solidFill>
                  <a:schemeClr val="tx1"/>
                </a:solidFill>
              </a:defRPr>
            </a:lvl1pPr>
          </a:lstStyle>
          <a:p>
            <a:pPr algn="r"/>
            <a:r>
              <a:rPr lang="fr-FR" cap="all"/>
              <a:t>XX/XX/XXXX</a:t>
            </a:r>
            <a:endParaRPr lang="fr-FR" cap="all" dirty="0"/>
          </a:p>
        </p:txBody>
      </p:sp>
      <p:sp>
        <p:nvSpPr>
          <p:cNvPr id="5" name="Espace réservé du pied de page 4"/>
          <p:cNvSpPr>
            <a:spLocks noGrp="1"/>
          </p:cNvSpPr>
          <p:nvPr>
            <p:ph type="ftr" sz="quarter" idx="3"/>
          </p:nvPr>
        </p:nvSpPr>
        <p:spPr bwMode="gray">
          <a:xfrm>
            <a:off x="360000" y="4783500"/>
            <a:ext cx="5904000" cy="360000"/>
          </a:xfrm>
          <a:prstGeom prst="rect">
            <a:avLst/>
          </a:prstGeom>
        </p:spPr>
        <p:txBody>
          <a:bodyPr vert="horz" lIns="0" tIns="0" rIns="0" bIns="0" rtlCol="0" anchor="ctr" anchorCtr="0">
            <a:noAutofit/>
          </a:bodyPr>
          <a:lstStyle>
            <a:lvl1pPr algn="l">
              <a:defRPr sz="750" b="1">
                <a:solidFill>
                  <a:schemeClr val="tx1"/>
                </a:solidFill>
              </a:defRPr>
            </a:lvl1pPr>
          </a:lstStyle>
          <a:p>
            <a:r>
              <a:rPr lang="fr-FR" dirty="0"/>
              <a:t>Intitulé de la direction/service interministérielle</a:t>
            </a:r>
          </a:p>
        </p:txBody>
      </p:sp>
      <p:sp>
        <p:nvSpPr>
          <p:cNvPr id="6" name="Espace réservé du numéro de diapositive 5"/>
          <p:cNvSpPr>
            <a:spLocks noGrp="1"/>
          </p:cNvSpPr>
          <p:nvPr>
            <p:ph type="sldNum" sz="quarter" idx="4"/>
          </p:nvPr>
        </p:nvSpPr>
        <p:spPr bwMode="gray">
          <a:xfrm>
            <a:off x="6264000" y="4783500"/>
            <a:ext cx="1350000" cy="360000"/>
          </a:xfrm>
          <a:prstGeom prst="rect">
            <a:avLst/>
          </a:prstGeom>
        </p:spPr>
        <p:txBody>
          <a:bodyPr vert="horz" lIns="0" tIns="0" rIns="0" bIns="0" rtlCol="0" anchor="ctr" anchorCtr="0">
            <a:noAutofit/>
          </a:bodyPr>
          <a:lstStyle>
            <a:lvl1pPr algn="r">
              <a:defRPr sz="750" b="1">
                <a:solidFill>
                  <a:schemeClr val="tx1"/>
                </a:solidFill>
              </a:defRPr>
            </a:lvl1pPr>
          </a:lstStyle>
          <a:p>
            <a:fld id="{733122C9-A0B9-462F-8757-0847AD287B63}" type="slidenum">
              <a:rPr lang="fr-FR" smtClean="0"/>
              <a:pPr/>
              <a:t>‹N°›</a:t>
            </a:fld>
            <a:endParaRPr lang="fr-FR" dirty="0"/>
          </a:p>
        </p:txBody>
      </p:sp>
      <p:cxnSp>
        <p:nvCxnSpPr>
          <p:cNvPr id="10" name="Connecteur droit 9"/>
          <p:cNvCxnSpPr/>
          <p:nvPr userDrawn="1"/>
        </p:nvCxnSpPr>
        <p:spPr bwMode="gray">
          <a:xfrm>
            <a:off x="360000" y="4784400"/>
            <a:ext cx="8424000" cy="0"/>
          </a:xfrm>
          <a:prstGeom prst="line">
            <a:avLst/>
          </a:prstGeom>
          <a:ln w="10160">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Image 7">
            <a:extLst>
              <a:ext uri="{FF2B5EF4-FFF2-40B4-BE49-F238E27FC236}">
                <a16:creationId xmlns:a16="http://schemas.microsoft.com/office/drawing/2014/main" id="{9443DCCB-1BF5-410E-8603-FC8FC8709C6F}"/>
              </a:ext>
            </a:extLst>
          </p:cNvPr>
          <p:cNvPicPr>
            <a:picLocks noChangeAspect="1"/>
          </p:cNvPicPr>
          <p:nvPr userDrawn="1"/>
        </p:nvPicPr>
        <p:blipFill>
          <a:blip r:embed="rId10"/>
          <a:srcRect/>
          <a:stretch/>
        </p:blipFill>
        <p:spPr>
          <a:xfrm>
            <a:off x="304477" y="51470"/>
            <a:ext cx="1080000" cy="829257"/>
          </a:xfrm>
          <a:prstGeom prst="rect">
            <a:avLst/>
          </a:prstGeom>
        </p:spPr>
      </p:pic>
    </p:spTree>
  </p:cSld>
  <p:clrMap bg1="lt1" tx1="dk1" bg2="lt2" tx2="dk2" accent1="accent1" accent2="accent2" accent3="accent3" accent4="accent4" accent5="accent5" accent6="accent6" hlink="hlink" folHlink="folHlink"/>
  <p:sldLayoutIdLst>
    <p:sldLayoutId id="2147483808" r:id="rId1"/>
    <p:sldLayoutId id="2147483812" r:id="rId2"/>
    <p:sldLayoutId id="2147483810" r:id="rId3"/>
    <p:sldLayoutId id="2147483811" r:id="rId4"/>
    <p:sldLayoutId id="2147483809" r:id="rId5"/>
    <p:sldLayoutId id="2147483813" r:id="rId6"/>
    <p:sldLayoutId id="2147483814" r:id="rId7"/>
    <p:sldLayoutId id="2147483815" r:id="rId8"/>
  </p:sldLayoutIdLst>
  <p:hf hdr="0"/>
  <p:txStyles>
    <p:titleStyle>
      <a:lvl1pPr algn="l" defTabSz="914400" rtl="0" eaLnBrk="1" latinLnBrk="0" hangingPunct="1">
        <a:lnSpc>
          <a:spcPct val="90000"/>
        </a:lnSpc>
        <a:spcBef>
          <a:spcPct val="0"/>
        </a:spcBef>
        <a:buNone/>
        <a:defRPr sz="2550" b="1"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500"/>
        </a:spcAft>
        <a:buFont typeface="Arial" pitchFamily="34" charset="0"/>
        <a:buNone/>
        <a:defRPr sz="1050" b="0" kern="1200">
          <a:solidFill>
            <a:schemeClr val="tx1"/>
          </a:solidFill>
          <a:latin typeface="+mn-lt"/>
          <a:ea typeface="+mn-ea"/>
          <a:cs typeface="+mn-cs"/>
        </a:defRPr>
      </a:lvl1pPr>
      <a:lvl2pPr marL="252000" indent="-72000" algn="l" defTabSz="914400" rtl="0" eaLnBrk="1" latinLnBrk="0" hangingPunct="1">
        <a:lnSpc>
          <a:spcPct val="100000"/>
        </a:lnSpc>
        <a:spcBef>
          <a:spcPts val="600"/>
        </a:spcBef>
        <a:spcAft>
          <a:spcPts val="600"/>
        </a:spcAft>
        <a:buFont typeface="Arial" pitchFamily="34" charset="0"/>
        <a:buChar char="•"/>
        <a:defRPr sz="950" kern="1200">
          <a:solidFill>
            <a:schemeClr val="tx1"/>
          </a:solidFill>
          <a:latin typeface="+mn-lt"/>
          <a:ea typeface="+mn-ea"/>
          <a:cs typeface="+mn-cs"/>
        </a:defRPr>
      </a:lvl2pPr>
      <a:lvl3pPr marL="432000" indent="-72000" algn="l" defTabSz="914400" rtl="0" eaLnBrk="1" latinLnBrk="0" hangingPunct="1">
        <a:lnSpc>
          <a:spcPct val="100000"/>
        </a:lnSpc>
        <a:spcBef>
          <a:spcPts val="100"/>
        </a:spcBef>
        <a:spcAft>
          <a:spcPts val="100"/>
        </a:spcAft>
        <a:buSzPct val="100000"/>
        <a:buFont typeface="Arial" pitchFamily="34" charset="0"/>
        <a:buChar char="•"/>
        <a:defRPr sz="850" kern="1200">
          <a:solidFill>
            <a:schemeClr val="tx1"/>
          </a:solidFill>
          <a:latin typeface="+mn-lt"/>
          <a:ea typeface="+mn-ea"/>
          <a:cs typeface="+mn-cs"/>
        </a:defRPr>
      </a:lvl3pPr>
      <a:lvl4pPr marL="612000" indent="-72000" algn="l" defTabSz="914400"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8000" indent="-72000" algn="l" defTabSz="914400"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7.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6" Type="http://schemas.openxmlformats.org/officeDocument/2006/relationships/tags" Target="../tags/tag16.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image" Target="../media/image6.emf"/><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80" Type="http://schemas.openxmlformats.org/officeDocument/2006/relationships/tags" Target="../tags/tag80.xml"/><Relationship Id="rId85" Type="http://schemas.openxmlformats.org/officeDocument/2006/relationships/tags" Target="../tags/tag85.xml"/><Relationship Id="rId3" Type="http://schemas.openxmlformats.org/officeDocument/2006/relationships/tags" Target="../tags/tag3.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96" Type="http://schemas.openxmlformats.org/officeDocument/2006/relationships/chart" Target="../charts/chart1.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oleObject" Target="../embeddings/oleObject1.bin"/><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chart" Target="../charts/chart2.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slideLayout" Target="../slideLayouts/slideLayout3.xml"/><Relationship Id="rId98" Type="http://schemas.openxmlformats.org/officeDocument/2006/relationships/chart" Target="../charts/chart3.xml"/></Relationships>
</file>

<file path=ppt/slides/_rels/slide6.xml.rels><?xml version="1.0" encoding="UTF-8" standalone="yes"?>
<Relationships xmlns="http://schemas.openxmlformats.org/package/2006/relationships"><Relationship Id="rId3" Type="http://schemas.openxmlformats.org/officeDocument/2006/relationships/tags" Target="../tags/tag95.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chart" Target="../charts/chart4.xml"/><Relationship Id="rId5" Type="http://schemas.openxmlformats.org/officeDocument/2006/relationships/image" Target="../media/image7.png"/><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endParaRPr lang="fr-FR"/>
          </a:p>
        </p:txBody>
      </p:sp>
      <p:sp>
        <p:nvSpPr>
          <p:cNvPr id="6" name="Espace réservé du texte 5"/>
          <p:cNvSpPr>
            <a:spLocks noGrp="1"/>
          </p:cNvSpPr>
          <p:nvPr>
            <p:ph type="body" sz="quarter" idx="13"/>
          </p:nvPr>
        </p:nvSpPr>
        <p:spPr/>
        <p:txBody>
          <a:bodyPr/>
          <a:lstStyle/>
          <a:p>
            <a:r>
              <a:rPr lang="fr-FR" dirty="0" err="1"/>
              <a:t>Economic</a:t>
            </a:r>
            <a:r>
              <a:rPr lang="fr-FR" dirty="0"/>
              <a:t> </a:t>
            </a:r>
            <a:r>
              <a:rPr lang="fr-FR" dirty="0" err="1"/>
              <a:t>policies</a:t>
            </a:r>
            <a:r>
              <a:rPr lang="fr-FR" dirty="0"/>
              <a:t> to </a:t>
            </a:r>
            <a:r>
              <a:rPr lang="fr-FR" dirty="0" err="1"/>
              <a:t>decarbonise</a:t>
            </a:r>
            <a:r>
              <a:rPr lang="fr-FR" dirty="0"/>
              <a:t> light </a:t>
            </a:r>
            <a:r>
              <a:rPr lang="fr-FR" dirty="0" err="1"/>
              <a:t>vehicles</a:t>
            </a:r>
            <a:r>
              <a:rPr lang="fr-FR" dirty="0"/>
              <a:t>: the French case </a:t>
            </a:r>
          </a:p>
          <a:p>
            <a:pPr lvl="1"/>
            <a:r>
              <a:rPr lang="fr-FR" dirty="0"/>
              <a:t>Arnaud Koehl, 05/11/2024</a:t>
            </a:r>
          </a:p>
        </p:txBody>
      </p:sp>
      <p:sp>
        <p:nvSpPr>
          <p:cNvPr id="8" name="Espace réservé du pied de page 7"/>
          <p:cNvSpPr>
            <a:spLocks noGrp="1"/>
          </p:cNvSpPr>
          <p:nvPr>
            <p:ph type="ftr" sz="quarter" idx="11"/>
          </p:nvPr>
        </p:nvSpPr>
        <p:spPr/>
        <p:txBody>
          <a:bodyPr/>
          <a:lstStyle/>
          <a:p>
            <a:r>
              <a:rPr lang="fr-FR" dirty="0"/>
              <a:t>Direction Générale Energie Climat</a:t>
            </a:r>
          </a:p>
        </p:txBody>
      </p:sp>
      <p:sp>
        <p:nvSpPr>
          <p:cNvPr id="9" name="Espace réservé du numéro de diapositive 8"/>
          <p:cNvSpPr>
            <a:spLocks noGrp="1"/>
          </p:cNvSpPr>
          <p:nvPr>
            <p:ph type="sldNum" sz="quarter" idx="12"/>
          </p:nvPr>
        </p:nvSpPr>
        <p:spPr/>
        <p:txBody>
          <a:bodyPr/>
          <a:lstStyle/>
          <a:p>
            <a:fld id="{733122C9-A0B9-462F-8757-0847AD287B63}" type="slidenum">
              <a:rPr lang="fr-FR" smtClean="0"/>
              <a:pPr/>
              <a:t>1</a:t>
            </a:fld>
            <a:endParaRPr lang="fr-FR" dirty="0"/>
          </a:p>
        </p:txBody>
      </p:sp>
    </p:spTree>
    <p:extLst>
      <p:ext uri="{BB962C8B-B14F-4D97-AF65-F5344CB8AC3E}">
        <p14:creationId xmlns:p14="http://schemas.microsoft.com/office/powerpoint/2010/main" val="41815159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4894A9-3003-46F1-BB3F-5A704A27E3E6}"/>
              </a:ext>
            </a:extLst>
          </p:cNvPr>
          <p:cNvSpPr>
            <a:spLocks noGrp="1"/>
          </p:cNvSpPr>
          <p:nvPr>
            <p:ph type="title"/>
          </p:nvPr>
        </p:nvSpPr>
        <p:spPr/>
        <p:txBody>
          <a:bodyPr/>
          <a:lstStyle/>
          <a:p>
            <a:r>
              <a:rPr lang="fr-FR" dirty="0"/>
              <a:t>Fiscal </a:t>
            </a:r>
            <a:r>
              <a:rPr lang="fr-FR" dirty="0" err="1"/>
              <a:t>policy</a:t>
            </a:r>
            <a:r>
              <a:rPr lang="fr-FR" dirty="0"/>
              <a:t> on car: </a:t>
            </a:r>
            <a:r>
              <a:rPr lang="fr-FR" dirty="0" err="1"/>
              <a:t>weight</a:t>
            </a:r>
            <a:r>
              <a:rPr lang="fr-FR" dirty="0"/>
              <a:t> malus</a:t>
            </a:r>
          </a:p>
        </p:txBody>
      </p:sp>
      <p:sp>
        <p:nvSpPr>
          <p:cNvPr id="5" name="Espace réservé du numéro de diapositive 4">
            <a:extLst>
              <a:ext uri="{FF2B5EF4-FFF2-40B4-BE49-F238E27FC236}">
                <a16:creationId xmlns:a16="http://schemas.microsoft.com/office/drawing/2014/main" id="{CB3F7182-9330-4D4E-9D47-64646FA70905}"/>
              </a:ext>
            </a:extLst>
          </p:cNvPr>
          <p:cNvSpPr>
            <a:spLocks noGrp="1"/>
          </p:cNvSpPr>
          <p:nvPr>
            <p:ph type="sldNum" sz="quarter" idx="12"/>
          </p:nvPr>
        </p:nvSpPr>
        <p:spPr/>
        <p:txBody>
          <a:bodyPr/>
          <a:lstStyle/>
          <a:p>
            <a:fld id="{733122C9-A0B9-462F-8757-0847AD287B63}" type="slidenum">
              <a:rPr lang="fr-FR" smtClean="0"/>
              <a:pPr/>
              <a:t>10</a:t>
            </a:fld>
            <a:endParaRPr lang="fr-FR" dirty="0"/>
          </a:p>
        </p:txBody>
      </p:sp>
      <p:sp>
        <p:nvSpPr>
          <p:cNvPr id="6" name="Espace réservé du contenu 5">
            <a:extLst>
              <a:ext uri="{FF2B5EF4-FFF2-40B4-BE49-F238E27FC236}">
                <a16:creationId xmlns:a16="http://schemas.microsoft.com/office/drawing/2014/main" id="{BCCFA67F-DD25-4270-A15C-B425C33A7DC4}"/>
              </a:ext>
            </a:extLst>
          </p:cNvPr>
          <p:cNvSpPr>
            <a:spLocks noGrp="1"/>
          </p:cNvSpPr>
          <p:nvPr>
            <p:ph sz="quarter" idx="14"/>
          </p:nvPr>
        </p:nvSpPr>
        <p:spPr>
          <a:xfrm>
            <a:off x="359999" y="1419622"/>
            <a:ext cx="8424000" cy="2574000"/>
          </a:xfrm>
        </p:spPr>
        <p:txBody>
          <a:bodyPr/>
          <a:lstStyle/>
          <a:p>
            <a:r>
              <a:rPr lang="en-US" b="1" dirty="0"/>
              <a:t>The tax on the running mass of passenger vehicles (weight penalty ≈ €75 million)</a:t>
            </a:r>
          </a:p>
          <a:p>
            <a:r>
              <a:rPr lang="fr-FR" sz="1050" b="1" dirty="0" err="1"/>
              <a:t>Targeted</a:t>
            </a:r>
            <a:r>
              <a:rPr lang="fr-FR" sz="1050" b="1" dirty="0"/>
              <a:t> </a:t>
            </a:r>
            <a:r>
              <a:rPr lang="fr-FR" sz="1050" b="1" dirty="0" err="1"/>
              <a:t>vehicles</a:t>
            </a:r>
            <a:r>
              <a:rPr lang="fr-FR" sz="1050" dirty="0"/>
              <a:t>: </a:t>
            </a:r>
          </a:p>
          <a:p>
            <a:pPr marL="628650" lvl="1" indent="-171450">
              <a:buClr>
                <a:srgbClr val="006699"/>
              </a:buClr>
              <a:buFontTx/>
              <a:buChar char="-"/>
            </a:pPr>
            <a:r>
              <a:rPr lang="fr-FR" sz="1050" dirty="0"/>
              <a:t>ICE cars over 1,6 tons</a:t>
            </a:r>
          </a:p>
          <a:p>
            <a:pPr marL="628650" lvl="1" indent="-171450">
              <a:buClr>
                <a:srgbClr val="006699"/>
              </a:buClr>
              <a:buFontTx/>
              <a:buChar char="-"/>
            </a:pPr>
            <a:r>
              <a:rPr lang="fr-FR" sz="1050" dirty="0"/>
              <a:t>+100 kg for PHEV</a:t>
            </a:r>
          </a:p>
          <a:p>
            <a:pPr marL="628650" lvl="1" indent="-171450">
              <a:buClr>
                <a:srgbClr val="006699"/>
              </a:buClr>
              <a:buFontTx/>
              <a:buChar char="-"/>
            </a:pPr>
            <a:r>
              <a:rPr lang="fr-FR" sz="1050" dirty="0"/>
              <a:t>Inclusion of HEV </a:t>
            </a:r>
            <a:r>
              <a:rPr lang="fr-FR" sz="1050" dirty="0" err="1"/>
              <a:t>from</a:t>
            </a:r>
            <a:r>
              <a:rPr lang="fr-FR" sz="1050" dirty="0"/>
              <a:t> 2025 </a:t>
            </a:r>
            <a:r>
              <a:rPr lang="fr-FR" sz="1050" dirty="0" err="1"/>
              <a:t>onward</a:t>
            </a:r>
            <a:endParaRPr lang="fr-FR" sz="1050" dirty="0"/>
          </a:p>
          <a:p>
            <a:endParaRPr lang="fr-FR" b="1" dirty="0"/>
          </a:p>
          <a:p>
            <a:pPr marL="285750" indent="-285750">
              <a:buFont typeface="Wingdings" panose="05000000000000000000" pitchFamily="2" charset="2"/>
              <a:buChar char="Ø"/>
            </a:pPr>
            <a:r>
              <a:rPr lang="en-US" dirty="0"/>
              <a:t>The tax on the mass in running order is </a:t>
            </a:r>
          </a:p>
          <a:p>
            <a:r>
              <a:rPr lang="en-US" dirty="0"/>
              <a:t>capped in 2024 at €60,000 by adding the </a:t>
            </a:r>
          </a:p>
          <a:p>
            <a:r>
              <a:rPr lang="en-US" dirty="0"/>
              <a:t>CO2 penalty and the weight penalty.</a:t>
            </a:r>
            <a:endParaRPr lang="fr-FR" dirty="0"/>
          </a:p>
          <a:p>
            <a:endParaRPr lang="fr-FR" dirty="0"/>
          </a:p>
          <a:p>
            <a:endParaRPr lang="fr-FR" dirty="0"/>
          </a:p>
        </p:txBody>
      </p:sp>
      <p:graphicFrame>
        <p:nvGraphicFramePr>
          <p:cNvPr id="11" name="Graphique 10"/>
          <p:cNvGraphicFramePr/>
          <p:nvPr>
            <p:extLst>
              <p:ext uri="{D42A27DB-BD31-4B8C-83A1-F6EECF244321}">
                <p14:modId xmlns:p14="http://schemas.microsoft.com/office/powerpoint/2010/main" val="1884038744"/>
              </p:ext>
            </p:extLst>
          </p:nvPr>
        </p:nvGraphicFramePr>
        <p:xfrm>
          <a:off x="3491520" y="1620000"/>
          <a:ext cx="5652480" cy="308606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597333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733122C9-A0B9-462F-8757-0847AD287B63}" type="slidenum">
              <a:rPr lang="fr-FR" smtClean="0"/>
              <a:pPr/>
              <a:t>11</a:t>
            </a:fld>
            <a:endParaRPr lang="fr-FR" dirty="0"/>
          </a:p>
        </p:txBody>
      </p:sp>
      <p:sp>
        <p:nvSpPr>
          <p:cNvPr id="8" name="Espace réservé du contenu 11">
            <a:extLst>
              <a:ext uri="{FF2B5EF4-FFF2-40B4-BE49-F238E27FC236}">
                <a16:creationId xmlns:a16="http://schemas.microsoft.com/office/drawing/2014/main" id="{511DC683-F1CB-4B77-AECB-83FED2289730}"/>
              </a:ext>
            </a:extLst>
          </p:cNvPr>
          <p:cNvSpPr txBox="1">
            <a:spLocks/>
          </p:cNvSpPr>
          <p:nvPr/>
        </p:nvSpPr>
        <p:spPr bwMode="gray">
          <a:xfrm>
            <a:off x="2051720" y="2067694"/>
            <a:ext cx="8460474" cy="50405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itchFamily="34" charset="0"/>
              <a:buNone/>
              <a:defRPr sz="1050" b="0" kern="1200">
                <a:solidFill>
                  <a:schemeClr val="tx1"/>
                </a:solidFill>
                <a:latin typeface="+mn-lt"/>
                <a:ea typeface="+mn-ea"/>
                <a:cs typeface="+mn-cs"/>
              </a:defRPr>
            </a:lvl1pPr>
            <a:lvl2pPr marL="179996" indent="0" algn="l" defTabSz="914400" rtl="0" eaLnBrk="1" latinLnBrk="0" hangingPunct="1">
              <a:lnSpc>
                <a:spcPct val="100000"/>
              </a:lnSpc>
              <a:spcBef>
                <a:spcPts val="600"/>
              </a:spcBef>
              <a:spcAft>
                <a:spcPts val="600"/>
              </a:spcAft>
              <a:buFont typeface="Arial" pitchFamily="34" charset="0"/>
              <a:buNone/>
              <a:defRPr sz="950" kern="1200">
                <a:solidFill>
                  <a:schemeClr val="tx1"/>
                </a:solidFill>
                <a:latin typeface="+mn-lt"/>
                <a:ea typeface="+mn-ea"/>
                <a:cs typeface="+mn-cs"/>
              </a:defRPr>
            </a:lvl2pPr>
            <a:lvl3pPr marL="432000" indent="-72000" algn="l" defTabSz="914400" rtl="0" eaLnBrk="1" latinLnBrk="0" hangingPunct="1">
              <a:lnSpc>
                <a:spcPct val="100000"/>
              </a:lnSpc>
              <a:spcBef>
                <a:spcPts val="100"/>
              </a:spcBef>
              <a:spcAft>
                <a:spcPts val="100"/>
              </a:spcAft>
              <a:buSzPct val="100000"/>
              <a:buFont typeface="Arial" pitchFamily="34" charset="0"/>
              <a:buChar char="•"/>
              <a:defRPr sz="850" kern="1200" baseline="0">
                <a:solidFill>
                  <a:schemeClr val="tx1"/>
                </a:solidFill>
                <a:latin typeface="+mn-lt"/>
                <a:ea typeface="+mn-ea"/>
                <a:cs typeface="+mn-cs"/>
              </a:defRPr>
            </a:lvl3pPr>
            <a:lvl4pPr marL="612000" indent="-72000" algn="l" defTabSz="914400"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8000" indent="-72000" algn="l" defTabSz="914400"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400" b="1" dirty="0" err="1"/>
              <a:t>Thank</a:t>
            </a:r>
            <a:r>
              <a:rPr lang="fr-FR" sz="2400" b="1" dirty="0"/>
              <a:t> </a:t>
            </a:r>
            <a:r>
              <a:rPr lang="fr-FR" sz="2400" b="1" dirty="0" err="1"/>
              <a:t>you</a:t>
            </a:r>
            <a:r>
              <a:rPr lang="fr-FR" sz="2400" b="1" dirty="0"/>
              <a:t> for </a:t>
            </a:r>
            <a:r>
              <a:rPr lang="fr-FR" sz="2400" b="1" dirty="0" err="1"/>
              <a:t>your</a:t>
            </a:r>
            <a:r>
              <a:rPr lang="fr-FR" sz="2400" b="1" dirty="0"/>
              <a:t> attention</a:t>
            </a:r>
          </a:p>
        </p:txBody>
      </p:sp>
    </p:spTree>
    <p:extLst>
      <p:ext uri="{BB962C8B-B14F-4D97-AF65-F5344CB8AC3E}">
        <p14:creationId xmlns:p14="http://schemas.microsoft.com/office/powerpoint/2010/main" val="14227507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extShape 1"/>
          <p:cNvSpPr txBox="1"/>
          <p:nvPr/>
        </p:nvSpPr>
        <p:spPr>
          <a:xfrm>
            <a:off x="1427447" y="238661"/>
            <a:ext cx="6983222" cy="719640"/>
          </a:xfrm>
          <a:prstGeom prst="rect">
            <a:avLst/>
          </a:prstGeom>
          <a:noFill/>
          <a:ln w="0">
            <a:noFill/>
          </a:ln>
        </p:spPr>
        <p:txBody>
          <a:bodyPr lIns="0" tIns="0" rIns="0" bIns="0">
            <a:noAutofit/>
          </a:bodyPr>
          <a:lstStyle/>
          <a:p>
            <a:pPr marL="360">
              <a:lnSpc>
                <a:spcPct val="90000"/>
              </a:lnSpc>
              <a:buClr>
                <a:srgbClr val="000000"/>
              </a:buClr>
            </a:pPr>
            <a:r>
              <a:rPr lang="fr-FR" sz="2550" b="1" strike="noStrike" spc="-1" dirty="0">
                <a:solidFill>
                  <a:srgbClr val="000000"/>
                </a:solidFill>
                <a:latin typeface="Marianne"/>
              </a:rPr>
              <a:t>ICE </a:t>
            </a:r>
            <a:r>
              <a:rPr lang="fr-FR" sz="2550" b="1" strike="noStrike" spc="-1" dirty="0" err="1">
                <a:solidFill>
                  <a:srgbClr val="000000"/>
                </a:solidFill>
                <a:latin typeface="Marianne"/>
              </a:rPr>
              <a:t>retrofitting</a:t>
            </a:r>
            <a:endParaRPr lang="fr-FR" sz="2550" b="1" strike="noStrike" spc="-1" dirty="0">
              <a:solidFill>
                <a:srgbClr val="000000"/>
              </a:solidFill>
              <a:latin typeface="Marianne"/>
            </a:endParaRPr>
          </a:p>
        </p:txBody>
      </p:sp>
      <p:sp>
        <p:nvSpPr>
          <p:cNvPr id="104" name="TextShape 5"/>
          <p:cNvSpPr txBox="1"/>
          <p:nvPr/>
        </p:nvSpPr>
        <p:spPr>
          <a:xfrm>
            <a:off x="6264000" y="4783680"/>
            <a:ext cx="1349640" cy="359640"/>
          </a:xfrm>
          <a:prstGeom prst="rect">
            <a:avLst/>
          </a:prstGeom>
          <a:noFill/>
          <a:ln w="0">
            <a:noFill/>
          </a:ln>
        </p:spPr>
        <p:txBody>
          <a:bodyPr lIns="0" tIns="0" rIns="0" bIns="0" anchor="ctr">
            <a:noAutofit/>
          </a:bodyPr>
          <a:lstStyle/>
          <a:p>
            <a:pPr algn="r">
              <a:lnSpc>
                <a:spcPct val="100000"/>
              </a:lnSpc>
            </a:pPr>
            <a:fld id="{7E8FBB2F-8ACF-49C3-B8ED-FD33BEDBE1DF}" type="slidenum">
              <a:rPr lang="fr-FR" sz="750" b="1" strike="noStrike" spc="-1">
                <a:solidFill>
                  <a:srgbClr val="000000"/>
                </a:solidFill>
                <a:latin typeface="Marianne"/>
              </a:rPr>
              <a:t>12</a:t>
            </a:fld>
            <a:endParaRPr lang="fr-FR" sz="750" b="0" strike="noStrike" spc="-1">
              <a:latin typeface="Times New Roman"/>
            </a:endParaRPr>
          </a:p>
        </p:txBody>
      </p:sp>
      <p:sp>
        <p:nvSpPr>
          <p:cNvPr id="7" name="TextShape 2"/>
          <p:cNvSpPr txBox="1"/>
          <p:nvPr/>
        </p:nvSpPr>
        <p:spPr>
          <a:xfrm>
            <a:off x="1098463" y="1222854"/>
            <a:ext cx="7652638" cy="2443799"/>
          </a:xfrm>
          <a:prstGeom prst="rect">
            <a:avLst/>
          </a:prstGeom>
          <a:noFill/>
          <a:ln w="0">
            <a:noFill/>
          </a:ln>
        </p:spPr>
        <p:txBody>
          <a:bodyPr lIns="0" tIns="0" rIns="0" bIns="0">
            <a:noAutofit/>
          </a:bodyPr>
          <a:lstStyle/>
          <a:p>
            <a:pPr marL="351360" lvl="1" indent="-171000">
              <a:lnSpc>
                <a:spcPct val="100000"/>
              </a:lnSpc>
              <a:spcBef>
                <a:spcPts val="601"/>
              </a:spcBef>
              <a:spcAft>
                <a:spcPts val="799"/>
              </a:spcAft>
              <a:buClr>
                <a:srgbClr val="000091"/>
              </a:buClr>
              <a:buFont typeface="Wingdings" charset="2"/>
              <a:buChar char=""/>
            </a:pPr>
            <a:endParaRPr lang="fr-FR" sz="1100" b="1" spc="-1" dirty="0">
              <a:solidFill>
                <a:srgbClr val="002060"/>
              </a:solidFill>
              <a:highlight>
                <a:srgbClr val="FFFF00"/>
              </a:highlight>
              <a:latin typeface="Marianne"/>
            </a:endParaRPr>
          </a:p>
          <a:p>
            <a:pPr marL="625475" lvl="2" indent="12700">
              <a:spcBef>
                <a:spcPts val="601"/>
              </a:spcBef>
              <a:spcAft>
                <a:spcPts val="799"/>
              </a:spcAft>
              <a:buClr>
                <a:srgbClr val="000091"/>
              </a:buClr>
              <a:buFont typeface="Wingdings" charset="2"/>
              <a:buChar char=""/>
            </a:pPr>
            <a:endParaRPr lang="fr-FR" sz="1100" spc="-1" dirty="0">
              <a:solidFill>
                <a:srgbClr val="FF0000"/>
              </a:solidFill>
              <a:latin typeface="Marianne"/>
            </a:endParaRPr>
          </a:p>
        </p:txBody>
      </p:sp>
      <p:sp>
        <p:nvSpPr>
          <p:cNvPr id="8" name="TextShape 2">
            <a:extLst>
              <a:ext uri="{FF2B5EF4-FFF2-40B4-BE49-F238E27FC236}">
                <a16:creationId xmlns:a16="http://schemas.microsoft.com/office/drawing/2014/main" id="{1F0FC03B-1680-4C4F-8149-A4CD5F96AD35}"/>
              </a:ext>
            </a:extLst>
          </p:cNvPr>
          <p:cNvSpPr txBox="1"/>
          <p:nvPr/>
        </p:nvSpPr>
        <p:spPr>
          <a:xfrm>
            <a:off x="477279" y="902428"/>
            <a:ext cx="8316000" cy="915766"/>
          </a:xfrm>
          <a:prstGeom prst="rect">
            <a:avLst/>
          </a:prstGeom>
          <a:noFill/>
          <a:ln w="0">
            <a:noFill/>
          </a:ln>
        </p:spPr>
        <p:txBody>
          <a:bodyPr lIns="0" tIns="0" rIns="0" bIns="0">
            <a:noAutofit/>
          </a:bodyPr>
          <a:lstStyle/>
          <a:p>
            <a:pPr marL="808560" lvl="2" indent="-171000">
              <a:lnSpc>
                <a:spcPct val="100000"/>
              </a:lnSpc>
              <a:spcBef>
                <a:spcPts val="601"/>
              </a:spcBef>
              <a:spcAft>
                <a:spcPts val="799"/>
              </a:spcAft>
              <a:buClr>
                <a:srgbClr val="000091"/>
              </a:buClr>
              <a:buFont typeface="Wingdings" charset="2"/>
              <a:buChar char=""/>
            </a:pPr>
            <a:r>
              <a:rPr lang="en-US" sz="1100" b="1" spc="-1" dirty="0">
                <a:latin typeface="Marianne"/>
              </a:rPr>
              <a:t>ICE retrofitting is one additional solution to </a:t>
            </a:r>
            <a:r>
              <a:rPr lang="en-US" sz="1100" b="1" spc="-1" dirty="0" err="1">
                <a:latin typeface="Marianne"/>
              </a:rPr>
              <a:t>decarbonise</a:t>
            </a:r>
            <a:r>
              <a:rPr lang="en-US" sz="1100" b="1" spc="-1" dirty="0">
                <a:latin typeface="Marianne"/>
              </a:rPr>
              <a:t> current fleet of vehicles, in order to reach carbon neutrality as 2050 main objective</a:t>
            </a:r>
          </a:p>
          <a:p>
            <a:pPr marL="808560" lvl="2" indent="-171000">
              <a:lnSpc>
                <a:spcPct val="100000"/>
              </a:lnSpc>
              <a:spcBef>
                <a:spcPts val="601"/>
              </a:spcBef>
              <a:spcAft>
                <a:spcPts val="799"/>
              </a:spcAft>
              <a:buClr>
                <a:srgbClr val="000091"/>
              </a:buClr>
              <a:buFont typeface="Wingdings" charset="2"/>
              <a:buChar char=""/>
            </a:pPr>
            <a:r>
              <a:rPr lang="en-US" sz="1100" b="1" spc="-1" dirty="0">
                <a:latin typeface="Marianne"/>
              </a:rPr>
              <a:t>Conversion of ICE vehicles into EVs, but also into fuel-cells (H2), PHEV and biogas vehicles, depending of the needs, timeframe use and vehicle category</a:t>
            </a:r>
          </a:p>
          <a:p>
            <a:pPr marL="808560" lvl="2" indent="-171000">
              <a:lnSpc>
                <a:spcPct val="100000"/>
              </a:lnSpc>
              <a:spcBef>
                <a:spcPts val="601"/>
              </a:spcBef>
              <a:spcAft>
                <a:spcPts val="799"/>
              </a:spcAft>
              <a:buClr>
                <a:srgbClr val="000091"/>
              </a:buClr>
              <a:buFont typeface="Wingdings" charset="2"/>
              <a:buChar char=""/>
            </a:pPr>
            <a:endParaRPr lang="en-US" sz="1100" b="1" spc="-1" dirty="0">
              <a:solidFill>
                <a:srgbClr val="002060"/>
              </a:solidFill>
              <a:latin typeface="Marianne"/>
            </a:endParaRPr>
          </a:p>
          <a:p>
            <a:pPr marL="351360" lvl="1" indent="-171000">
              <a:spcBef>
                <a:spcPts val="601"/>
              </a:spcBef>
              <a:spcAft>
                <a:spcPts val="799"/>
              </a:spcAft>
              <a:buClr>
                <a:srgbClr val="000091"/>
              </a:buClr>
              <a:buFont typeface="Wingdings" charset="2"/>
              <a:buChar char=""/>
            </a:pPr>
            <a:endParaRPr lang="en-US" sz="1100" b="1" spc="-1" dirty="0">
              <a:solidFill>
                <a:srgbClr val="002060"/>
              </a:solidFill>
              <a:latin typeface="Marianne"/>
            </a:endParaRPr>
          </a:p>
        </p:txBody>
      </p:sp>
      <p:grpSp>
        <p:nvGrpSpPr>
          <p:cNvPr id="9" name="Groupe 8">
            <a:extLst>
              <a:ext uri="{FF2B5EF4-FFF2-40B4-BE49-F238E27FC236}">
                <a16:creationId xmlns:a16="http://schemas.microsoft.com/office/drawing/2014/main" id="{A5294B4E-9A54-42D8-85CA-DAB9FE0D3983}"/>
              </a:ext>
            </a:extLst>
          </p:cNvPr>
          <p:cNvGrpSpPr/>
          <p:nvPr/>
        </p:nvGrpSpPr>
        <p:grpSpPr>
          <a:xfrm>
            <a:off x="35496" y="1818194"/>
            <a:ext cx="9108504" cy="2926540"/>
            <a:chOff x="164937" y="1457829"/>
            <a:chExt cx="8783571" cy="3297662"/>
          </a:xfrm>
        </p:grpSpPr>
        <p:sp>
          <p:nvSpPr>
            <p:cNvPr id="10" name="ZoneTexte 9">
              <a:extLst>
                <a:ext uri="{FF2B5EF4-FFF2-40B4-BE49-F238E27FC236}">
                  <a16:creationId xmlns:a16="http://schemas.microsoft.com/office/drawing/2014/main" id="{1C31C07D-F7D9-4BD2-8A52-E99DA9BD91E3}"/>
                </a:ext>
              </a:extLst>
            </p:cNvPr>
            <p:cNvSpPr txBox="1"/>
            <p:nvPr/>
          </p:nvSpPr>
          <p:spPr>
            <a:xfrm>
              <a:off x="220160" y="2645047"/>
              <a:ext cx="1063516" cy="260104"/>
            </a:xfrm>
            <a:prstGeom prst="rect">
              <a:avLst/>
            </a:prstGeom>
            <a:noFill/>
          </p:spPr>
          <p:txBody>
            <a:bodyPr wrap="square" rtlCol="0">
              <a:spAutoFit/>
            </a:bodyPr>
            <a:lstStyle/>
            <a:p>
              <a:pPr algn="just"/>
              <a:r>
                <a:rPr lang="fr-FR" sz="900" b="1" dirty="0"/>
                <a:t>ICE </a:t>
              </a:r>
              <a:r>
                <a:rPr lang="fr-FR" sz="900" b="1" dirty="0" err="1"/>
                <a:t>fleet</a:t>
              </a:r>
              <a:r>
                <a:rPr lang="fr-FR" sz="900" b="1" dirty="0"/>
                <a:t> size</a:t>
              </a:r>
            </a:p>
          </p:txBody>
        </p:sp>
        <p:sp>
          <p:nvSpPr>
            <p:cNvPr id="11" name="ZoneTexte 10">
              <a:extLst>
                <a:ext uri="{FF2B5EF4-FFF2-40B4-BE49-F238E27FC236}">
                  <a16:creationId xmlns:a16="http://schemas.microsoft.com/office/drawing/2014/main" id="{5D0F9F8E-7831-499D-987D-AAED5A74AFB8}"/>
                </a:ext>
              </a:extLst>
            </p:cNvPr>
            <p:cNvSpPr txBox="1"/>
            <p:nvPr/>
          </p:nvSpPr>
          <p:spPr>
            <a:xfrm>
              <a:off x="164937" y="3579808"/>
              <a:ext cx="1118739" cy="260104"/>
            </a:xfrm>
            <a:prstGeom prst="rect">
              <a:avLst/>
            </a:prstGeom>
            <a:noFill/>
          </p:spPr>
          <p:txBody>
            <a:bodyPr wrap="square" rtlCol="0">
              <a:spAutoFit/>
            </a:bodyPr>
            <a:lstStyle/>
            <a:p>
              <a:pPr algn="ctr"/>
              <a:r>
                <a:rPr lang="fr-FR" sz="900" b="1" dirty="0" err="1"/>
                <a:t>Average</a:t>
              </a:r>
              <a:r>
                <a:rPr lang="fr-FR" sz="900" b="1" dirty="0"/>
                <a:t> </a:t>
              </a:r>
              <a:r>
                <a:rPr lang="fr-FR" sz="900" b="1" dirty="0" err="1"/>
                <a:t>fleet</a:t>
              </a:r>
              <a:r>
                <a:rPr lang="fr-FR" sz="900" b="1" dirty="0"/>
                <a:t> </a:t>
              </a:r>
              <a:r>
                <a:rPr lang="fr-FR" sz="900" b="1" dirty="0" err="1"/>
                <a:t>age</a:t>
              </a:r>
              <a:endParaRPr lang="fr-FR" sz="900" b="1" dirty="0"/>
            </a:p>
          </p:txBody>
        </p:sp>
        <p:sp>
          <p:nvSpPr>
            <p:cNvPr id="12" name="ZoneTexte 11">
              <a:extLst>
                <a:ext uri="{FF2B5EF4-FFF2-40B4-BE49-F238E27FC236}">
                  <a16:creationId xmlns:a16="http://schemas.microsoft.com/office/drawing/2014/main" id="{6CFD5E34-0016-45A1-8D9C-67D7AAA9EE93}"/>
                </a:ext>
              </a:extLst>
            </p:cNvPr>
            <p:cNvSpPr txBox="1"/>
            <p:nvPr/>
          </p:nvSpPr>
          <p:spPr>
            <a:xfrm>
              <a:off x="347048" y="1693522"/>
              <a:ext cx="1063516" cy="260104"/>
            </a:xfrm>
            <a:prstGeom prst="rect">
              <a:avLst/>
            </a:prstGeom>
            <a:noFill/>
          </p:spPr>
          <p:txBody>
            <a:bodyPr wrap="square" rtlCol="0">
              <a:spAutoFit/>
            </a:bodyPr>
            <a:lstStyle/>
            <a:p>
              <a:pPr algn="just"/>
              <a:r>
                <a:rPr lang="fr-FR" sz="900" b="1" dirty="0" err="1"/>
                <a:t>Vehicles</a:t>
              </a:r>
              <a:endParaRPr lang="fr-FR" sz="900" b="1" dirty="0"/>
            </a:p>
          </p:txBody>
        </p:sp>
        <p:sp>
          <p:nvSpPr>
            <p:cNvPr id="13" name="Ellipse 12">
              <a:extLst>
                <a:ext uri="{FF2B5EF4-FFF2-40B4-BE49-F238E27FC236}">
                  <a16:creationId xmlns:a16="http://schemas.microsoft.com/office/drawing/2014/main" id="{71367298-8AF7-4D7A-A695-5A117955B6F2}"/>
                </a:ext>
              </a:extLst>
            </p:cNvPr>
            <p:cNvSpPr/>
            <p:nvPr/>
          </p:nvSpPr>
          <p:spPr>
            <a:xfrm>
              <a:off x="1608084" y="2331810"/>
              <a:ext cx="914400"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a:t>38 000 000</a:t>
              </a:r>
            </a:p>
          </p:txBody>
        </p:sp>
        <p:sp>
          <p:nvSpPr>
            <p:cNvPr id="14" name="Rectangle 13">
              <a:extLst>
                <a:ext uri="{FF2B5EF4-FFF2-40B4-BE49-F238E27FC236}">
                  <a16:creationId xmlns:a16="http://schemas.microsoft.com/office/drawing/2014/main" id="{3DE593D8-99BA-4F67-A7A8-F91166FA43F0}"/>
                </a:ext>
              </a:extLst>
            </p:cNvPr>
            <p:cNvSpPr/>
            <p:nvPr/>
          </p:nvSpPr>
          <p:spPr>
            <a:xfrm>
              <a:off x="1608084" y="3550394"/>
              <a:ext cx="914400" cy="4016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tx1"/>
                  </a:solidFill>
                </a:rPr>
                <a:t>11 </a:t>
              </a:r>
              <a:r>
                <a:rPr lang="fr-FR" sz="1100" dirty="0" err="1">
                  <a:solidFill>
                    <a:schemeClr val="tx1"/>
                  </a:solidFill>
                </a:rPr>
                <a:t>years</a:t>
              </a:r>
              <a:endParaRPr lang="fr-FR" sz="1100" dirty="0">
                <a:solidFill>
                  <a:schemeClr val="tx1"/>
                </a:solidFill>
              </a:endParaRPr>
            </a:p>
          </p:txBody>
        </p:sp>
        <p:pic>
          <p:nvPicPr>
            <p:cNvPr id="15" name="Image 14">
              <a:extLst>
                <a:ext uri="{FF2B5EF4-FFF2-40B4-BE49-F238E27FC236}">
                  <a16:creationId xmlns:a16="http://schemas.microsoft.com/office/drawing/2014/main" id="{5B043E77-4110-458D-B576-FC9CB545F6F6}"/>
                </a:ext>
              </a:extLst>
            </p:cNvPr>
            <p:cNvPicPr>
              <a:picLocks noChangeAspect="1"/>
            </p:cNvPicPr>
            <p:nvPr/>
          </p:nvPicPr>
          <p:blipFill>
            <a:blip r:embed="rId2"/>
            <a:stretch>
              <a:fillRect/>
            </a:stretch>
          </p:blipFill>
          <p:spPr>
            <a:xfrm>
              <a:off x="1668386" y="1535020"/>
              <a:ext cx="762813" cy="502816"/>
            </a:xfrm>
            <a:prstGeom prst="rect">
              <a:avLst/>
            </a:prstGeom>
          </p:spPr>
        </p:pic>
        <p:pic>
          <p:nvPicPr>
            <p:cNvPr id="16" name="Image 15">
              <a:extLst>
                <a:ext uri="{FF2B5EF4-FFF2-40B4-BE49-F238E27FC236}">
                  <a16:creationId xmlns:a16="http://schemas.microsoft.com/office/drawing/2014/main" id="{C321BE0E-97FF-438B-AB84-353837BB5FED}"/>
                </a:ext>
              </a:extLst>
            </p:cNvPr>
            <p:cNvPicPr>
              <a:picLocks noChangeAspect="1"/>
            </p:cNvPicPr>
            <p:nvPr/>
          </p:nvPicPr>
          <p:blipFill>
            <a:blip r:embed="rId3"/>
            <a:stretch>
              <a:fillRect/>
            </a:stretch>
          </p:blipFill>
          <p:spPr>
            <a:xfrm>
              <a:off x="2674380" y="1580041"/>
              <a:ext cx="782512" cy="457796"/>
            </a:xfrm>
            <a:prstGeom prst="rect">
              <a:avLst/>
            </a:prstGeom>
          </p:spPr>
        </p:pic>
        <p:sp>
          <p:nvSpPr>
            <p:cNvPr id="17" name="Ellipse 16">
              <a:extLst>
                <a:ext uri="{FF2B5EF4-FFF2-40B4-BE49-F238E27FC236}">
                  <a16:creationId xmlns:a16="http://schemas.microsoft.com/office/drawing/2014/main" id="{82AB0A70-30FF-4CA5-912E-8A0ECBE110FA}"/>
                </a:ext>
              </a:extLst>
            </p:cNvPr>
            <p:cNvSpPr/>
            <p:nvPr/>
          </p:nvSpPr>
          <p:spPr>
            <a:xfrm>
              <a:off x="2655734" y="2331810"/>
              <a:ext cx="914400"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a:t>6 000 000</a:t>
              </a:r>
            </a:p>
          </p:txBody>
        </p:sp>
        <p:sp>
          <p:nvSpPr>
            <p:cNvPr id="18" name="Rectangle 17">
              <a:extLst>
                <a:ext uri="{FF2B5EF4-FFF2-40B4-BE49-F238E27FC236}">
                  <a16:creationId xmlns:a16="http://schemas.microsoft.com/office/drawing/2014/main" id="{3B7A4F80-7108-4F5D-87B4-6ED9D7E25F67}"/>
                </a:ext>
              </a:extLst>
            </p:cNvPr>
            <p:cNvSpPr/>
            <p:nvPr/>
          </p:nvSpPr>
          <p:spPr>
            <a:xfrm>
              <a:off x="2657709" y="3550394"/>
              <a:ext cx="914400" cy="4016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tx1"/>
                  </a:solidFill>
                </a:rPr>
                <a:t>10 </a:t>
              </a:r>
              <a:r>
                <a:rPr lang="fr-FR" sz="1100" dirty="0" err="1">
                  <a:solidFill>
                    <a:schemeClr val="tx1"/>
                  </a:solidFill>
                </a:rPr>
                <a:t>years</a:t>
              </a:r>
              <a:endParaRPr lang="fr-FR" sz="1100" dirty="0">
                <a:solidFill>
                  <a:schemeClr val="tx1"/>
                </a:solidFill>
              </a:endParaRPr>
            </a:p>
          </p:txBody>
        </p:sp>
        <p:pic>
          <p:nvPicPr>
            <p:cNvPr id="19" name="Image 18">
              <a:extLst>
                <a:ext uri="{FF2B5EF4-FFF2-40B4-BE49-F238E27FC236}">
                  <a16:creationId xmlns:a16="http://schemas.microsoft.com/office/drawing/2014/main" id="{3372AC23-2380-4B58-8608-D3AF19E74A42}"/>
                </a:ext>
              </a:extLst>
            </p:cNvPr>
            <p:cNvPicPr>
              <a:picLocks noChangeAspect="1"/>
            </p:cNvPicPr>
            <p:nvPr/>
          </p:nvPicPr>
          <p:blipFill>
            <a:blip r:embed="rId4"/>
            <a:stretch>
              <a:fillRect/>
            </a:stretch>
          </p:blipFill>
          <p:spPr>
            <a:xfrm>
              <a:off x="3609130" y="1526976"/>
              <a:ext cx="1008279" cy="510860"/>
            </a:xfrm>
            <a:prstGeom prst="rect">
              <a:avLst/>
            </a:prstGeom>
          </p:spPr>
        </p:pic>
        <p:sp>
          <p:nvSpPr>
            <p:cNvPr id="20" name="Ellipse 19">
              <a:extLst>
                <a:ext uri="{FF2B5EF4-FFF2-40B4-BE49-F238E27FC236}">
                  <a16:creationId xmlns:a16="http://schemas.microsoft.com/office/drawing/2014/main" id="{3D597088-577A-44A9-BB26-657A1EFBBE50}"/>
                </a:ext>
              </a:extLst>
            </p:cNvPr>
            <p:cNvSpPr/>
            <p:nvPr/>
          </p:nvSpPr>
          <p:spPr>
            <a:xfrm>
              <a:off x="4738420" y="2331810"/>
              <a:ext cx="914400"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a:t>600 000</a:t>
              </a:r>
            </a:p>
          </p:txBody>
        </p:sp>
        <p:sp>
          <p:nvSpPr>
            <p:cNvPr id="21" name="Rectangle 20">
              <a:extLst>
                <a:ext uri="{FF2B5EF4-FFF2-40B4-BE49-F238E27FC236}">
                  <a16:creationId xmlns:a16="http://schemas.microsoft.com/office/drawing/2014/main" id="{29C51EC4-3601-4CD5-814A-B996077015ED}"/>
                </a:ext>
              </a:extLst>
            </p:cNvPr>
            <p:cNvSpPr/>
            <p:nvPr/>
          </p:nvSpPr>
          <p:spPr>
            <a:xfrm>
              <a:off x="4744345" y="3550394"/>
              <a:ext cx="914400" cy="4016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tx1"/>
                  </a:solidFill>
                </a:rPr>
                <a:t>9 </a:t>
              </a:r>
              <a:r>
                <a:rPr lang="fr-FR" sz="1100" dirty="0" err="1">
                  <a:solidFill>
                    <a:schemeClr val="tx1"/>
                  </a:solidFill>
                </a:rPr>
                <a:t>years</a:t>
              </a:r>
              <a:endParaRPr lang="fr-FR" sz="1100" dirty="0">
                <a:solidFill>
                  <a:schemeClr val="tx1"/>
                </a:solidFill>
              </a:endParaRPr>
            </a:p>
          </p:txBody>
        </p:sp>
        <p:sp>
          <p:nvSpPr>
            <p:cNvPr id="22" name="Ellipse 21">
              <a:extLst>
                <a:ext uri="{FF2B5EF4-FFF2-40B4-BE49-F238E27FC236}">
                  <a16:creationId xmlns:a16="http://schemas.microsoft.com/office/drawing/2014/main" id="{2F267112-7F4D-4A41-93A0-A03C199DAAB1}"/>
                </a:ext>
              </a:extLst>
            </p:cNvPr>
            <p:cNvSpPr/>
            <p:nvPr/>
          </p:nvSpPr>
          <p:spPr>
            <a:xfrm>
              <a:off x="3703383" y="2331810"/>
              <a:ext cx="914400"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a:t>86 000</a:t>
              </a:r>
            </a:p>
          </p:txBody>
        </p:sp>
        <p:sp>
          <p:nvSpPr>
            <p:cNvPr id="23" name="Rectangle 22">
              <a:extLst>
                <a:ext uri="{FF2B5EF4-FFF2-40B4-BE49-F238E27FC236}">
                  <a16:creationId xmlns:a16="http://schemas.microsoft.com/office/drawing/2014/main" id="{04370D6F-687B-40B6-9119-065873E41FFB}"/>
                </a:ext>
              </a:extLst>
            </p:cNvPr>
            <p:cNvSpPr/>
            <p:nvPr/>
          </p:nvSpPr>
          <p:spPr>
            <a:xfrm>
              <a:off x="3707333" y="3550394"/>
              <a:ext cx="914400" cy="4016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tx1"/>
                  </a:solidFill>
                </a:rPr>
                <a:t>8 </a:t>
              </a:r>
              <a:r>
                <a:rPr lang="fr-FR" sz="1100" dirty="0" err="1">
                  <a:solidFill>
                    <a:schemeClr val="tx1"/>
                  </a:solidFill>
                </a:rPr>
                <a:t>years</a:t>
              </a:r>
              <a:endParaRPr lang="fr-FR" sz="1100" dirty="0">
                <a:solidFill>
                  <a:schemeClr val="tx1"/>
                </a:solidFill>
              </a:endParaRPr>
            </a:p>
          </p:txBody>
        </p:sp>
        <p:pic>
          <p:nvPicPr>
            <p:cNvPr id="24" name="Image 23">
              <a:extLst>
                <a:ext uri="{FF2B5EF4-FFF2-40B4-BE49-F238E27FC236}">
                  <a16:creationId xmlns:a16="http://schemas.microsoft.com/office/drawing/2014/main" id="{A86263E7-9332-483C-AEC0-93969A65F37D}"/>
                </a:ext>
              </a:extLst>
            </p:cNvPr>
            <p:cNvPicPr>
              <a:picLocks noChangeAspect="1"/>
            </p:cNvPicPr>
            <p:nvPr/>
          </p:nvPicPr>
          <p:blipFill>
            <a:blip r:embed="rId5"/>
            <a:stretch>
              <a:fillRect/>
            </a:stretch>
          </p:blipFill>
          <p:spPr>
            <a:xfrm>
              <a:off x="4757035" y="1457829"/>
              <a:ext cx="914400" cy="617052"/>
            </a:xfrm>
            <a:prstGeom prst="rect">
              <a:avLst/>
            </a:prstGeom>
          </p:spPr>
        </p:pic>
        <p:pic>
          <p:nvPicPr>
            <p:cNvPr id="25" name="Image 24">
              <a:extLst>
                <a:ext uri="{FF2B5EF4-FFF2-40B4-BE49-F238E27FC236}">
                  <a16:creationId xmlns:a16="http://schemas.microsoft.com/office/drawing/2014/main" id="{A2822B15-4EF1-4FE6-A433-467AA288EDA1}"/>
                </a:ext>
              </a:extLst>
            </p:cNvPr>
            <p:cNvPicPr>
              <a:picLocks noChangeAspect="1"/>
            </p:cNvPicPr>
            <p:nvPr/>
          </p:nvPicPr>
          <p:blipFill>
            <a:blip r:embed="rId6"/>
            <a:stretch>
              <a:fillRect/>
            </a:stretch>
          </p:blipFill>
          <p:spPr>
            <a:xfrm>
              <a:off x="6853087" y="1457829"/>
              <a:ext cx="835692" cy="617052"/>
            </a:xfrm>
            <a:prstGeom prst="rect">
              <a:avLst/>
            </a:prstGeom>
          </p:spPr>
        </p:pic>
        <p:sp>
          <p:nvSpPr>
            <p:cNvPr id="26" name="Ellipse 25">
              <a:extLst>
                <a:ext uri="{FF2B5EF4-FFF2-40B4-BE49-F238E27FC236}">
                  <a16:creationId xmlns:a16="http://schemas.microsoft.com/office/drawing/2014/main" id="{0AC36CCA-5D12-4721-BB80-A029592C903D}"/>
                </a:ext>
              </a:extLst>
            </p:cNvPr>
            <p:cNvSpPr/>
            <p:nvPr/>
          </p:nvSpPr>
          <p:spPr>
            <a:xfrm>
              <a:off x="6776129" y="2331810"/>
              <a:ext cx="914400"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a:t>~800 000</a:t>
              </a:r>
            </a:p>
          </p:txBody>
        </p:sp>
        <p:sp>
          <p:nvSpPr>
            <p:cNvPr id="27" name="Rectangle 26">
              <a:extLst>
                <a:ext uri="{FF2B5EF4-FFF2-40B4-BE49-F238E27FC236}">
                  <a16:creationId xmlns:a16="http://schemas.microsoft.com/office/drawing/2014/main" id="{256E0799-C83B-41BC-B225-D195A673E9B0}"/>
                </a:ext>
              </a:extLst>
            </p:cNvPr>
            <p:cNvSpPr/>
            <p:nvPr/>
          </p:nvSpPr>
          <p:spPr>
            <a:xfrm>
              <a:off x="6784029" y="3550394"/>
              <a:ext cx="914400" cy="4016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tx1"/>
                  </a:solidFill>
                </a:rPr>
                <a:t>27 </a:t>
              </a:r>
              <a:r>
                <a:rPr lang="fr-FR" sz="1100" dirty="0" err="1">
                  <a:solidFill>
                    <a:schemeClr val="tx1"/>
                  </a:solidFill>
                </a:rPr>
                <a:t>years</a:t>
              </a:r>
              <a:endParaRPr lang="fr-FR" sz="1100" dirty="0">
                <a:solidFill>
                  <a:schemeClr val="tx1"/>
                </a:solidFill>
              </a:endParaRPr>
            </a:p>
          </p:txBody>
        </p:sp>
        <p:pic>
          <p:nvPicPr>
            <p:cNvPr id="28" name="Image 27">
              <a:extLst>
                <a:ext uri="{FF2B5EF4-FFF2-40B4-BE49-F238E27FC236}">
                  <a16:creationId xmlns:a16="http://schemas.microsoft.com/office/drawing/2014/main" id="{60EBBD0E-BB91-4661-965E-295A8864B39E}"/>
                </a:ext>
              </a:extLst>
            </p:cNvPr>
            <p:cNvPicPr>
              <a:picLocks noChangeAspect="1"/>
            </p:cNvPicPr>
            <p:nvPr/>
          </p:nvPicPr>
          <p:blipFill>
            <a:blip r:embed="rId7"/>
            <a:stretch>
              <a:fillRect/>
            </a:stretch>
          </p:blipFill>
          <p:spPr>
            <a:xfrm>
              <a:off x="7759120" y="1457829"/>
              <a:ext cx="1076074" cy="617052"/>
            </a:xfrm>
            <a:prstGeom prst="rect">
              <a:avLst/>
            </a:prstGeom>
          </p:spPr>
        </p:pic>
        <p:sp>
          <p:nvSpPr>
            <p:cNvPr id="29" name="Ellipse 28">
              <a:extLst>
                <a:ext uri="{FF2B5EF4-FFF2-40B4-BE49-F238E27FC236}">
                  <a16:creationId xmlns:a16="http://schemas.microsoft.com/office/drawing/2014/main" id="{4BCDB17E-BDBF-4884-8B6D-6DC094704019}"/>
                </a:ext>
              </a:extLst>
            </p:cNvPr>
            <p:cNvSpPr/>
            <p:nvPr/>
          </p:nvSpPr>
          <p:spPr>
            <a:xfrm>
              <a:off x="7836391" y="2328879"/>
              <a:ext cx="1112117" cy="91440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700" dirty="0"/>
                <a:t>6500 commercial </a:t>
              </a:r>
              <a:r>
                <a:rPr lang="fr-FR" sz="700" dirty="0" err="1"/>
                <a:t>ships</a:t>
              </a:r>
              <a:endParaRPr lang="fr-FR" sz="700" dirty="0"/>
            </a:p>
            <a:p>
              <a:pPr algn="ctr"/>
              <a:r>
                <a:rPr lang="fr-FR" sz="700" dirty="0"/>
                <a:t>2200 </a:t>
              </a:r>
              <a:r>
                <a:rPr lang="fr-FR" sz="700" dirty="0" err="1"/>
                <a:t>professional</a:t>
              </a:r>
              <a:r>
                <a:rPr lang="fr-FR" sz="700" dirty="0"/>
                <a:t> </a:t>
              </a:r>
              <a:r>
                <a:rPr lang="fr-FR" sz="700" dirty="0" err="1"/>
                <a:t>leasure</a:t>
              </a:r>
              <a:r>
                <a:rPr lang="fr-FR" sz="700" dirty="0"/>
                <a:t> </a:t>
              </a:r>
              <a:r>
                <a:rPr lang="fr-FR" sz="700" dirty="0" err="1"/>
                <a:t>vessels</a:t>
              </a:r>
              <a:endParaRPr lang="fr-FR" sz="700" dirty="0"/>
            </a:p>
          </p:txBody>
        </p:sp>
        <p:sp>
          <p:nvSpPr>
            <p:cNvPr id="30" name="Rectangle 29">
              <a:extLst>
                <a:ext uri="{FF2B5EF4-FFF2-40B4-BE49-F238E27FC236}">
                  <a16:creationId xmlns:a16="http://schemas.microsoft.com/office/drawing/2014/main" id="{145E92A4-E5AC-4188-BA1F-A76483DF80D0}"/>
                </a:ext>
              </a:extLst>
            </p:cNvPr>
            <p:cNvSpPr/>
            <p:nvPr/>
          </p:nvSpPr>
          <p:spPr>
            <a:xfrm>
              <a:off x="7846263" y="3547463"/>
              <a:ext cx="914400" cy="4016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tx1"/>
                  </a:solidFill>
                </a:rPr>
                <a:t>25 </a:t>
              </a:r>
              <a:r>
                <a:rPr lang="fr-FR" sz="1100" dirty="0" err="1">
                  <a:solidFill>
                    <a:schemeClr val="tx1"/>
                  </a:solidFill>
                </a:rPr>
                <a:t>years</a:t>
              </a:r>
              <a:endParaRPr lang="fr-FR" sz="1100" dirty="0">
                <a:solidFill>
                  <a:schemeClr val="tx1"/>
                </a:solidFill>
              </a:endParaRPr>
            </a:p>
          </p:txBody>
        </p:sp>
        <p:sp>
          <p:nvSpPr>
            <p:cNvPr id="31" name="Ellipse 30">
              <a:extLst>
                <a:ext uri="{FF2B5EF4-FFF2-40B4-BE49-F238E27FC236}">
                  <a16:creationId xmlns:a16="http://schemas.microsoft.com/office/drawing/2014/main" id="{4D1E2522-F920-4BAF-8C29-9D635FE0466D}"/>
                </a:ext>
              </a:extLst>
            </p:cNvPr>
            <p:cNvSpPr/>
            <p:nvPr/>
          </p:nvSpPr>
          <p:spPr>
            <a:xfrm>
              <a:off x="5743200" y="2328879"/>
              <a:ext cx="914400" cy="91440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dirty="0"/>
                <a:t>275 000</a:t>
              </a:r>
            </a:p>
          </p:txBody>
        </p:sp>
        <p:sp>
          <p:nvSpPr>
            <p:cNvPr id="32" name="Rectangle 31">
              <a:extLst>
                <a:ext uri="{FF2B5EF4-FFF2-40B4-BE49-F238E27FC236}">
                  <a16:creationId xmlns:a16="http://schemas.microsoft.com/office/drawing/2014/main" id="{AD01A410-73CD-4493-8460-C626E14F8B81}"/>
                </a:ext>
              </a:extLst>
            </p:cNvPr>
            <p:cNvSpPr/>
            <p:nvPr/>
          </p:nvSpPr>
          <p:spPr>
            <a:xfrm>
              <a:off x="5757406" y="3547463"/>
              <a:ext cx="914400" cy="40167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a:solidFill>
                    <a:schemeClr val="tx1"/>
                  </a:solidFill>
                </a:rPr>
                <a:t>10 </a:t>
              </a:r>
              <a:r>
                <a:rPr lang="fr-FR" sz="1100" dirty="0" err="1">
                  <a:solidFill>
                    <a:schemeClr val="tx1"/>
                  </a:solidFill>
                </a:rPr>
                <a:t>years</a:t>
              </a:r>
              <a:endParaRPr lang="fr-FR" sz="1100" dirty="0">
                <a:solidFill>
                  <a:schemeClr val="tx1"/>
                </a:solidFill>
              </a:endParaRPr>
            </a:p>
          </p:txBody>
        </p:sp>
        <p:pic>
          <p:nvPicPr>
            <p:cNvPr id="33" name="Image 32">
              <a:extLst>
                <a:ext uri="{FF2B5EF4-FFF2-40B4-BE49-F238E27FC236}">
                  <a16:creationId xmlns:a16="http://schemas.microsoft.com/office/drawing/2014/main" id="{CB111C6A-C2D9-4EEE-98A6-51EEA271B4FE}"/>
                </a:ext>
              </a:extLst>
            </p:cNvPr>
            <p:cNvPicPr>
              <a:picLocks noChangeAspect="1"/>
            </p:cNvPicPr>
            <p:nvPr/>
          </p:nvPicPr>
          <p:blipFill>
            <a:blip r:embed="rId8"/>
            <a:stretch>
              <a:fillRect/>
            </a:stretch>
          </p:blipFill>
          <p:spPr>
            <a:xfrm>
              <a:off x="5782728" y="1457830"/>
              <a:ext cx="844062" cy="617052"/>
            </a:xfrm>
            <a:prstGeom prst="rect">
              <a:avLst/>
            </a:prstGeom>
          </p:spPr>
        </p:pic>
        <p:sp>
          <p:nvSpPr>
            <p:cNvPr id="34" name="ZoneTexte 33">
              <a:extLst>
                <a:ext uri="{FF2B5EF4-FFF2-40B4-BE49-F238E27FC236}">
                  <a16:creationId xmlns:a16="http://schemas.microsoft.com/office/drawing/2014/main" id="{FE5E6611-0D0F-4FCD-BFEF-EB556D1FEE99}"/>
                </a:ext>
              </a:extLst>
            </p:cNvPr>
            <p:cNvSpPr txBox="1"/>
            <p:nvPr/>
          </p:nvSpPr>
          <p:spPr>
            <a:xfrm>
              <a:off x="192548" y="4209492"/>
              <a:ext cx="1118739" cy="416168"/>
            </a:xfrm>
            <a:prstGeom prst="rect">
              <a:avLst/>
            </a:prstGeom>
            <a:noFill/>
          </p:spPr>
          <p:txBody>
            <a:bodyPr wrap="square" rtlCol="0">
              <a:spAutoFit/>
            </a:bodyPr>
            <a:lstStyle/>
            <a:p>
              <a:pPr algn="ctr"/>
              <a:r>
                <a:rPr lang="fr-FR" sz="900" b="1" dirty="0"/>
                <a:t>Type of </a:t>
              </a:r>
              <a:r>
                <a:rPr lang="fr-FR" sz="900" b="1" dirty="0" err="1"/>
                <a:t>potential</a:t>
              </a:r>
              <a:r>
                <a:rPr lang="fr-FR" sz="900" b="1" dirty="0"/>
                <a:t> </a:t>
              </a:r>
              <a:r>
                <a:rPr lang="fr-FR" sz="900" b="1" dirty="0" err="1"/>
                <a:t>retrofit</a:t>
              </a:r>
              <a:endParaRPr lang="fr-FR" sz="900" b="1" dirty="0"/>
            </a:p>
          </p:txBody>
        </p:sp>
        <p:sp>
          <p:nvSpPr>
            <p:cNvPr id="35" name="ZoneTexte 34">
              <a:extLst>
                <a:ext uri="{FF2B5EF4-FFF2-40B4-BE49-F238E27FC236}">
                  <a16:creationId xmlns:a16="http://schemas.microsoft.com/office/drawing/2014/main" id="{5B0DFD11-F58D-4E7F-931B-0B8F7B8BE5EE}"/>
                </a:ext>
              </a:extLst>
            </p:cNvPr>
            <p:cNvSpPr txBox="1"/>
            <p:nvPr/>
          </p:nvSpPr>
          <p:spPr>
            <a:xfrm>
              <a:off x="1608084" y="4102488"/>
              <a:ext cx="914400" cy="520210"/>
            </a:xfrm>
            <a:prstGeom prst="rect">
              <a:avLst/>
            </a:prstGeom>
            <a:noFill/>
          </p:spPr>
          <p:txBody>
            <a:bodyPr wrap="square" rtlCol="0">
              <a:spAutoFit/>
            </a:bodyPr>
            <a:lstStyle/>
            <a:p>
              <a:pPr marL="171450" indent="-171450">
                <a:buFont typeface="Arial" panose="020B0604020202020204" pitchFamily="34" charset="0"/>
                <a:buChar char="•"/>
              </a:pPr>
              <a:r>
                <a:rPr lang="fr-FR" sz="800" dirty="0"/>
                <a:t>Full </a:t>
              </a:r>
              <a:r>
                <a:rPr lang="fr-FR" sz="800" dirty="0" err="1"/>
                <a:t>electric</a:t>
              </a:r>
              <a:endParaRPr lang="fr-FR" sz="800" dirty="0"/>
            </a:p>
            <a:p>
              <a:pPr marL="171450" indent="-171450">
                <a:buFont typeface="Arial" panose="020B0604020202020204" pitchFamily="34" charset="0"/>
                <a:buChar char="•"/>
              </a:pPr>
              <a:r>
                <a:rPr lang="fr-FR" sz="800" dirty="0" err="1"/>
                <a:t>Hybrid</a:t>
              </a:r>
              <a:endParaRPr lang="fr-FR" sz="800" dirty="0"/>
            </a:p>
            <a:p>
              <a:pPr marL="171450" indent="-171450">
                <a:buFont typeface="Arial" panose="020B0604020202020204" pitchFamily="34" charset="0"/>
                <a:buChar char="•"/>
              </a:pPr>
              <a:r>
                <a:rPr lang="fr-FR" sz="800" dirty="0"/>
                <a:t>Natural </a:t>
              </a:r>
              <a:r>
                <a:rPr lang="fr-FR" sz="800" dirty="0" err="1"/>
                <a:t>gas</a:t>
              </a:r>
              <a:endParaRPr lang="fr-FR" sz="800" dirty="0"/>
            </a:p>
          </p:txBody>
        </p:sp>
        <p:sp>
          <p:nvSpPr>
            <p:cNvPr id="36" name="ZoneTexte 35">
              <a:extLst>
                <a:ext uri="{FF2B5EF4-FFF2-40B4-BE49-F238E27FC236}">
                  <a16:creationId xmlns:a16="http://schemas.microsoft.com/office/drawing/2014/main" id="{4050464E-1AE6-43FB-BC9F-FE6A9720CBA2}"/>
                </a:ext>
              </a:extLst>
            </p:cNvPr>
            <p:cNvSpPr txBox="1"/>
            <p:nvPr/>
          </p:nvSpPr>
          <p:spPr>
            <a:xfrm>
              <a:off x="2655734" y="4095668"/>
              <a:ext cx="914400" cy="658932"/>
            </a:xfrm>
            <a:prstGeom prst="rect">
              <a:avLst/>
            </a:prstGeom>
            <a:noFill/>
          </p:spPr>
          <p:txBody>
            <a:bodyPr wrap="square" rtlCol="0">
              <a:spAutoFit/>
            </a:bodyPr>
            <a:lstStyle/>
            <a:p>
              <a:pPr marL="171450" indent="-171450">
                <a:buFont typeface="Arial" panose="020B0604020202020204" pitchFamily="34" charset="0"/>
                <a:buChar char="•"/>
              </a:pPr>
              <a:r>
                <a:rPr lang="fr-FR" sz="800" dirty="0"/>
                <a:t>Full </a:t>
              </a:r>
              <a:r>
                <a:rPr lang="fr-FR" sz="800" dirty="0" err="1"/>
                <a:t>electric</a:t>
              </a:r>
              <a:endParaRPr lang="fr-FR" sz="800" dirty="0"/>
            </a:p>
            <a:p>
              <a:pPr marL="171450" indent="-171450">
                <a:buFont typeface="Arial" panose="020B0604020202020204" pitchFamily="34" charset="0"/>
                <a:buChar char="•"/>
              </a:pPr>
              <a:r>
                <a:rPr lang="fr-FR" sz="800" dirty="0" err="1"/>
                <a:t>Hybrid</a:t>
              </a:r>
              <a:endParaRPr lang="fr-FR" sz="800" dirty="0"/>
            </a:p>
            <a:p>
              <a:pPr marL="171450" indent="-171450">
                <a:buFont typeface="Arial" panose="020B0604020202020204" pitchFamily="34" charset="0"/>
                <a:buChar char="•"/>
              </a:pPr>
              <a:r>
                <a:rPr lang="fr-FR" sz="800" dirty="0"/>
                <a:t>Natural </a:t>
              </a:r>
              <a:r>
                <a:rPr lang="fr-FR" sz="800" dirty="0" err="1"/>
                <a:t>gas</a:t>
              </a:r>
              <a:endParaRPr lang="fr-FR" sz="800" dirty="0"/>
            </a:p>
            <a:p>
              <a:pPr marL="171450" indent="-171450">
                <a:buFont typeface="Arial" panose="020B0604020202020204" pitchFamily="34" charset="0"/>
                <a:buChar char="•"/>
              </a:pPr>
              <a:r>
                <a:rPr lang="fr-FR" sz="800" dirty="0"/>
                <a:t>H2</a:t>
              </a:r>
            </a:p>
          </p:txBody>
        </p:sp>
        <p:sp>
          <p:nvSpPr>
            <p:cNvPr id="37" name="ZoneTexte 36">
              <a:extLst>
                <a:ext uri="{FF2B5EF4-FFF2-40B4-BE49-F238E27FC236}">
                  <a16:creationId xmlns:a16="http://schemas.microsoft.com/office/drawing/2014/main" id="{65DBEF7B-7FF9-4D0B-8FD9-5DBB0F4A2428}"/>
                </a:ext>
              </a:extLst>
            </p:cNvPr>
            <p:cNvSpPr txBox="1"/>
            <p:nvPr/>
          </p:nvSpPr>
          <p:spPr>
            <a:xfrm>
              <a:off x="3656069" y="4096559"/>
              <a:ext cx="914400" cy="658932"/>
            </a:xfrm>
            <a:prstGeom prst="rect">
              <a:avLst/>
            </a:prstGeom>
            <a:noFill/>
          </p:spPr>
          <p:txBody>
            <a:bodyPr wrap="square" rtlCol="0">
              <a:spAutoFit/>
            </a:bodyPr>
            <a:lstStyle/>
            <a:p>
              <a:pPr marL="171450" indent="-171450">
                <a:buFont typeface="Arial" panose="020B0604020202020204" pitchFamily="34" charset="0"/>
                <a:buChar char="•"/>
              </a:pPr>
              <a:r>
                <a:rPr lang="fr-FR" sz="800" dirty="0"/>
                <a:t>Full </a:t>
              </a:r>
              <a:r>
                <a:rPr lang="fr-FR" sz="800" dirty="0" err="1"/>
                <a:t>electric</a:t>
              </a:r>
              <a:endParaRPr lang="fr-FR" sz="800" dirty="0"/>
            </a:p>
            <a:p>
              <a:pPr marL="171450" indent="-171450">
                <a:buFont typeface="Arial" panose="020B0604020202020204" pitchFamily="34" charset="0"/>
                <a:buChar char="•"/>
              </a:pPr>
              <a:r>
                <a:rPr lang="fr-FR" sz="800" dirty="0" err="1"/>
                <a:t>Hybrid</a:t>
              </a:r>
              <a:endParaRPr lang="fr-FR" sz="800" dirty="0"/>
            </a:p>
            <a:p>
              <a:pPr marL="171450" indent="-171450">
                <a:buFont typeface="Arial" panose="020B0604020202020204" pitchFamily="34" charset="0"/>
                <a:buChar char="•"/>
              </a:pPr>
              <a:r>
                <a:rPr lang="fr-FR" sz="800" dirty="0"/>
                <a:t>Natural </a:t>
              </a:r>
              <a:r>
                <a:rPr lang="fr-FR" sz="800" dirty="0" err="1"/>
                <a:t>gas</a:t>
              </a:r>
              <a:endParaRPr lang="fr-FR" sz="800" dirty="0"/>
            </a:p>
            <a:p>
              <a:pPr marL="171450" indent="-171450">
                <a:buFont typeface="Arial" panose="020B0604020202020204" pitchFamily="34" charset="0"/>
                <a:buChar char="•"/>
              </a:pPr>
              <a:r>
                <a:rPr lang="fr-FR" sz="800" dirty="0"/>
                <a:t>H2</a:t>
              </a:r>
            </a:p>
          </p:txBody>
        </p:sp>
        <p:sp>
          <p:nvSpPr>
            <p:cNvPr id="38" name="ZoneTexte 37">
              <a:extLst>
                <a:ext uri="{FF2B5EF4-FFF2-40B4-BE49-F238E27FC236}">
                  <a16:creationId xmlns:a16="http://schemas.microsoft.com/office/drawing/2014/main" id="{9160D4B1-6433-4AD3-82C0-D8BF448113C7}"/>
                </a:ext>
              </a:extLst>
            </p:cNvPr>
            <p:cNvSpPr txBox="1"/>
            <p:nvPr/>
          </p:nvSpPr>
          <p:spPr>
            <a:xfrm>
              <a:off x="4738420" y="4095667"/>
              <a:ext cx="914400" cy="658932"/>
            </a:xfrm>
            <a:prstGeom prst="rect">
              <a:avLst/>
            </a:prstGeom>
            <a:noFill/>
          </p:spPr>
          <p:txBody>
            <a:bodyPr wrap="square" rtlCol="0">
              <a:spAutoFit/>
            </a:bodyPr>
            <a:lstStyle/>
            <a:p>
              <a:pPr marL="171450" indent="-171450">
                <a:buFont typeface="Arial" panose="020B0604020202020204" pitchFamily="34" charset="0"/>
                <a:buChar char="•"/>
              </a:pPr>
              <a:r>
                <a:rPr lang="fr-FR" sz="800" dirty="0"/>
                <a:t>Full </a:t>
              </a:r>
              <a:r>
                <a:rPr lang="fr-FR" sz="800" dirty="0" err="1"/>
                <a:t>electric</a:t>
              </a:r>
              <a:endParaRPr lang="fr-FR" sz="800" dirty="0"/>
            </a:p>
            <a:p>
              <a:pPr marL="171450" indent="-171450">
                <a:buFont typeface="Arial" panose="020B0604020202020204" pitchFamily="34" charset="0"/>
                <a:buChar char="•"/>
              </a:pPr>
              <a:r>
                <a:rPr lang="fr-FR" sz="800" dirty="0" err="1"/>
                <a:t>Hybrid</a:t>
              </a:r>
              <a:endParaRPr lang="fr-FR" sz="800" dirty="0"/>
            </a:p>
            <a:p>
              <a:pPr marL="171450" indent="-171450">
                <a:buFont typeface="Arial" panose="020B0604020202020204" pitchFamily="34" charset="0"/>
                <a:buChar char="•"/>
              </a:pPr>
              <a:r>
                <a:rPr lang="fr-FR" sz="800" dirty="0"/>
                <a:t>Natural </a:t>
              </a:r>
              <a:r>
                <a:rPr lang="fr-FR" sz="800" dirty="0" err="1"/>
                <a:t>gas</a:t>
              </a:r>
              <a:endParaRPr lang="fr-FR" sz="800" dirty="0"/>
            </a:p>
            <a:p>
              <a:pPr marL="171450" indent="-171450">
                <a:buFont typeface="Arial" panose="020B0604020202020204" pitchFamily="34" charset="0"/>
                <a:buChar char="•"/>
              </a:pPr>
              <a:r>
                <a:rPr lang="fr-FR" sz="800" dirty="0"/>
                <a:t>H2</a:t>
              </a:r>
            </a:p>
          </p:txBody>
        </p:sp>
        <p:sp>
          <p:nvSpPr>
            <p:cNvPr id="39" name="ZoneTexte 38">
              <a:extLst>
                <a:ext uri="{FF2B5EF4-FFF2-40B4-BE49-F238E27FC236}">
                  <a16:creationId xmlns:a16="http://schemas.microsoft.com/office/drawing/2014/main" id="{1BC5C92D-3991-48BF-8F42-27DE9E2D4BCE}"/>
                </a:ext>
              </a:extLst>
            </p:cNvPr>
            <p:cNvSpPr txBox="1"/>
            <p:nvPr/>
          </p:nvSpPr>
          <p:spPr>
            <a:xfrm>
              <a:off x="5712326" y="4095666"/>
              <a:ext cx="914400" cy="658932"/>
            </a:xfrm>
            <a:prstGeom prst="rect">
              <a:avLst/>
            </a:prstGeom>
            <a:noFill/>
          </p:spPr>
          <p:txBody>
            <a:bodyPr wrap="square" rtlCol="0">
              <a:spAutoFit/>
            </a:bodyPr>
            <a:lstStyle/>
            <a:p>
              <a:pPr marL="171450" indent="-171450">
                <a:buFont typeface="Arial" panose="020B0604020202020204" pitchFamily="34" charset="0"/>
                <a:buChar char="•"/>
              </a:pPr>
              <a:r>
                <a:rPr lang="fr-FR" sz="800" dirty="0"/>
                <a:t>Full </a:t>
              </a:r>
              <a:r>
                <a:rPr lang="fr-FR" sz="800" dirty="0" err="1"/>
                <a:t>electric</a:t>
              </a:r>
              <a:endParaRPr lang="fr-FR" sz="800" dirty="0"/>
            </a:p>
            <a:p>
              <a:pPr marL="171450" indent="-171450">
                <a:buFont typeface="Arial" panose="020B0604020202020204" pitchFamily="34" charset="0"/>
                <a:buChar char="•"/>
              </a:pPr>
              <a:r>
                <a:rPr lang="fr-FR" sz="800" dirty="0" err="1"/>
                <a:t>Hybrid</a:t>
              </a:r>
              <a:endParaRPr lang="fr-FR" sz="800" dirty="0"/>
            </a:p>
            <a:p>
              <a:pPr marL="171450" indent="-171450">
                <a:buFont typeface="Arial" panose="020B0604020202020204" pitchFamily="34" charset="0"/>
                <a:buChar char="•"/>
              </a:pPr>
              <a:r>
                <a:rPr lang="fr-FR" sz="800" dirty="0"/>
                <a:t>Natural </a:t>
              </a:r>
              <a:r>
                <a:rPr lang="fr-FR" sz="800" dirty="0" err="1"/>
                <a:t>gas</a:t>
              </a:r>
              <a:endParaRPr lang="fr-FR" sz="800" dirty="0"/>
            </a:p>
            <a:p>
              <a:pPr marL="171450" indent="-171450">
                <a:buFont typeface="Arial" panose="020B0604020202020204" pitchFamily="34" charset="0"/>
                <a:buChar char="•"/>
              </a:pPr>
              <a:r>
                <a:rPr lang="fr-FR" sz="800" dirty="0"/>
                <a:t>H2</a:t>
              </a:r>
            </a:p>
          </p:txBody>
        </p:sp>
        <p:sp>
          <p:nvSpPr>
            <p:cNvPr id="40" name="ZoneTexte 39">
              <a:extLst>
                <a:ext uri="{FF2B5EF4-FFF2-40B4-BE49-F238E27FC236}">
                  <a16:creationId xmlns:a16="http://schemas.microsoft.com/office/drawing/2014/main" id="{78712E41-F9BE-4587-9ADF-AE346D644D96}"/>
                </a:ext>
              </a:extLst>
            </p:cNvPr>
            <p:cNvSpPr txBox="1"/>
            <p:nvPr/>
          </p:nvSpPr>
          <p:spPr>
            <a:xfrm>
              <a:off x="6747362" y="4095666"/>
              <a:ext cx="914400" cy="658932"/>
            </a:xfrm>
            <a:prstGeom prst="rect">
              <a:avLst/>
            </a:prstGeom>
            <a:noFill/>
          </p:spPr>
          <p:txBody>
            <a:bodyPr wrap="square" rtlCol="0">
              <a:spAutoFit/>
            </a:bodyPr>
            <a:lstStyle/>
            <a:p>
              <a:pPr marL="171450" indent="-171450">
                <a:buFont typeface="Arial" panose="020B0604020202020204" pitchFamily="34" charset="0"/>
                <a:buChar char="•"/>
              </a:pPr>
              <a:r>
                <a:rPr lang="fr-FR" sz="800" dirty="0"/>
                <a:t>Full </a:t>
              </a:r>
              <a:r>
                <a:rPr lang="fr-FR" sz="800" dirty="0" err="1"/>
                <a:t>electric</a:t>
              </a:r>
              <a:endParaRPr lang="fr-FR" sz="800" dirty="0"/>
            </a:p>
            <a:p>
              <a:pPr marL="171450" indent="-171450">
                <a:buFont typeface="Arial" panose="020B0604020202020204" pitchFamily="34" charset="0"/>
                <a:buChar char="•"/>
              </a:pPr>
              <a:r>
                <a:rPr lang="fr-FR" sz="800" dirty="0"/>
                <a:t>B 100</a:t>
              </a:r>
            </a:p>
            <a:p>
              <a:pPr marL="171450" indent="-171450">
                <a:buFont typeface="Arial" panose="020B0604020202020204" pitchFamily="34" charset="0"/>
                <a:buChar char="•"/>
              </a:pPr>
              <a:r>
                <a:rPr lang="fr-FR" sz="800" dirty="0"/>
                <a:t>Natural </a:t>
              </a:r>
              <a:r>
                <a:rPr lang="fr-FR" sz="800" dirty="0" err="1"/>
                <a:t>gas</a:t>
              </a:r>
              <a:endParaRPr lang="fr-FR" sz="800" dirty="0"/>
            </a:p>
            <a:p>
              <a:pPr marL="171450" indent="-171450">
                <a:buFont typeface="Arial" panose="020B0604020202020204" pitchFamily="34" charset="0"/>
                <a:buChar char="•"/>
              </a:pPr>
              <a:r>
                <a:rPr lang="fr-FR" sz="800" dirty="0"/>
                <a:t>H2</a:t>
              </a:r>
            </a:p>
          </p:txBody>
        </p:sp>
        <p:sp>
          <p:nvSpPr>
            <p:cNvPr id="41" name="ZoneTexte 40">
              <a:extLst>
                <a:ext uri="{FF2B5EF4-FFF2-40B4-BE49-F238E27FC236}">
                  <a16:creationId xmlns:a16="http://schemas.microsoft.com/office/drawing/2014/main" id="{A5721745-63EE-4CFD-A2D4-80DC725A233B}"/>
                </a:ext>
              </a:extLst>
            </p:cNvPr>
            <p:cNvSpPr txBox="1"/>
            <p:nvPr/>
          </p:nvSpPr>
          <p:spPr>
            <a:xfrm>
              <a:off x="7759120" y="4092298"/>
              <a:ext cx="1189388" cy="658932"/>
            </a:xfrm>
            <a:prstGeom prst="rect">
              <a:avLst/>
            </a:prstGeom>
            <a:noFill/>
          </p:spPr>
          <p:txBody>
            <a:bodyPr wrap="square" rtlCol="0">
              <a:spAutoFit/>
            </a:bodyPr>
            <a:lstStyle/>
            <a:p>
              <a:pPr marL="171450" indent="-171450">
                <a:buFont typeface="Arial" panose="020B0604020202020204" pitchFamily="34" charset="0"/>
                <a:buChar char="•"/>
              </a:pPr>
              <a:r>
                <a:rPr lang="fr-FR" sz="800" dirty="0"/>
                <a:t>Electric/H2</a:t>
              </a:r>
            </a:p>
            <a:p>
              <a:pPr marL="171450" indent="-171450">
                <a:buFont typeface="Arial" panose="020B0604020202020204" pitchFamily="34" charset="0"/>
                <a:buChar char="•"/>
              </a:pPr>
              <a:r>
                <a:rPr lang="fr-FR" sz="800" dirty="0" err="1"/>
                <a:t>Methanol</a:t>
              </a:r>
              <a:r>
                <a:rPr lang="fr-FR" sz="800" dirty="0"/>
                <a:t>/</a:t>
              </a:r>
              <a:r>
                <a:rPr lang="fr-FR" sz="800" dirty="0" err="1"/>
                <a:t>natural</a:t>
              </a:r>
              <a:r>
                <a:rPr lang="fr-FR" sz="800" dirty="0"/>
                <a:t> </a:t>
              </a:r>
              <a:r>
                <a:rPr lang="fr-FR" sz="800" dirty="0" err="1"/>
                <a:t>gas</a:t>
              </a:r>
              <a:endParaRPr lang="fr-FR" sz="800" dirty="0"/>
            </a:p>
            <a:p>
              <a:pPr marL="171450" indent="-171450">
                <a:buFont typeface="Arial" panose="020B0604020202020204" pitchFamily="34" charset="0"/>
                <a:buChar char="•"/>
              </a:pPr>
              <a:r>
                <a:rPr lang="fr-FR" sz="800" dirty="0"/>
                <a:t>Wind</a:t>
              </a:r>
            </a:p>
          </p:txBody>
        </p:sp>
      </p:grpSp>
      <p:sp>
        <p:nvSpPr>
          <p:cNvPr id="3" name="ZoneTexte 2">
            <a:extLst>
              <a:ext uri="{FF2B5EF4-FFF2-40B4-BE49-F238E27FC236}">
                <a16:creationId xmlns:a16="http://schemas.microsoft.com/office/drawing/2014/main" id="{2ECFCFEC-7092-4588-81E4-802782F00C99}"/>
              </a:ext>
            </a:extLst>
          </p:cNvPr>
          <p:cNvSpPr txBox="1"/>
          <p:nvPr/>
        </p:nvSpPr>
        <p:spPr>
          <a:xfrm>
            <a:off x="8279339" y="4809260"/>
            <a:ext cx="576064" cy="369332"/>
          </a:xfrm>
          <a:prstGeom prst="rect">
            <a:avLst/>
          </a:prstGeom>
          <a:solidFill>
            <a:schemeClr val="bg1"/>
          </a:solidFill>
        </p:spPr>
        <p:txBody>
          <a:bodyPr wrap="square" rtlCol="0">
            <a:spAutoFit/>
          </a:bodyPr>
          <a:lstStyle/>
          <a:p>
            <a:endParaRPr lang="fr-FR" dirty="0"/>
          </a:p>
        </p:txBody>
      </p:sp>
    </p:spTree>
    <p:extLst>
      <p:ext uri="{BB962C8B-B14F-4D97-AF65-F5344CB8AC3E}">
        <p14:creationId xmlns:p14="http://schemas.microsoft.com/office/powerpoint/2010/main" val="16481574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 name="TextShape 1"/>
          <p:cNvSpPr txBox="1"/>
          <p:nvPr/>
        </p:nvSpPr>
        <p:spPr>
          <a:xfrm>
            <a:off x="1905391" y="304521"/>
            <a:ext cx="6983222" cy="719640"/>
          </a:xfrm>
          <a:prstGeom prst="rect">
            <a:avLst/>
          </a:prstGeom>
          <a:noFill/>
          <a:ln w="0">
            <a:noFill/>
          </a:ln>
        </p:spPr>
        <p:txBody>
          <a:bodyPr lIns="0" tIns="0" rIns="0" bIns="0">
            <a:noAutofit/>
          </a:bodyPr>
          <a:lstStyle/>
          <a:p>
            <a:pPr marL="360">
              <a:lnSpc>
                <a:spcPct val="90000"/>
              </a:lnSpc>
              <a:buClr>
                <a:srgbClr val="000000"/>
              </a:buClr>
            </a:pPr>
            <a:r>
              <a:rPr lang="fr-FR" sz="2550" b="1" strike="noStrike" spc="-1" dirty="0">
                <a:solidFill>
                  <a:srgbClr val="000000"/>
                </a:solidFill>
                <a:latin typeface="Marianne"/>
              </a:rPr>
              <a:t>ICE </a:t>
            </a:r>
            <a:r>
              <a:rPr lang="fr-FR" sz="2550" b="1" strike="noStrike" spc="-1" dirty="0" err="1">
                <a:solidFill>
                  <a:srgbClr val="000000"/>
                </a:solidFill>
                <a:latin typeface="Marianne"/>
              </a:rPr>
              <a:t>retrofitting</a:t>
            </a:r>
            <a:endParaRPr lang="fr-FR" sz="2550" b="1" strike="noStrike" spc="-1" dirty="0">
              <a:solidFill>
                <a:srgbClr val="000000"/>
              </a:solidFill>
              <a:latin typeface="Marianne"/>
            </a:endParaRPr>
          </a:p>
        </p:txBody>
      </p:sp>
      <p:sp>
        <p:nvSpPr>
          <p:cNvPr id="103" name="TextShape 4"/>
          <p:cNvSpPr txBox="1"/>
          <p:nvPr/>
        </p:nvSpPr>
        <p:spPr>
          <a:xfrm>
            <a:off x="360000" y="4783680"/>
            <a:ext cx="5903640" cy="359640"/>
          </a:xfrm>
          <a:prstGeom prst="rect">
            <a:avLst/>
          </a:prstGeom>
          <a:noFill/>
          <a:ln w="0">
            <a:noFill/>
          </a:ln>
        </p:spPr>
        <p:txBody>
          <a:bodyPr lIns="0" tIns="0" rIns="0" bIns="0" anchor="ctr">
            <a:noAutofit/>
          </a:bodyPr>
          <a:lstStyle/>
          <a:p>
            <a:pPr>
              <a:lnSpc>
                <a:spcPct val="100000"/>
              </a:lnSpc>
            </a:pPr>
            <a:r>
              <a:rPr lang="fr-FR" sz="750" b="1" strike="noStrike" spc="-1" dirty="0">
                <a:solidFill>
                  <a:srgbClr val="000000"/>
                </a:solidFill>
                <a:latin typeface="Marianne"/>
              </a:rPr>
              <a:t>MTE/DGEC</a:t>
            </a:r>
            <a:endParaRPr lang="fr-FR" sz="750" b="0" strike="noStrike" spc="-1" dirty="0">
              <a:latin typeface="Times New Roman"/>
            </a:endParaRPr>
          </a:p>
        </p:txBody>
      </p:sp>
      <p:sp>
        <p:nvSpPr>
          <p:cNvPr id="104" name="TextShape 5"/>
          <p:cNvSpPr txBox="1"/>
          <p:nvPr/>
        </p:nvSpPr>
        <p:spPr>
          <a:xfrm>
            <a:off x="6264000" y="4783680"/>
            <a:ext cx="1349640" cy="359640"/>
          </a:xfrm>
          <a:prstGeom prst="rect">
            <a:avLst/>
          </a:prstGeom>
          <a:noFill/>
          <a:ln w="0">
            <a:noFill/>
          </a:ln>
        </p:spPr>
        <p:txBody>
          <a:bodyPr lIns="0" tIns="0" rIns="0" bIns="0" anchor="ctr">
            <a:noAutofit/>
          </a:bodyPr>
          <a:lstStyle/>
          <a:p>
            <a:pPr algn="r">
              <a:lnSpc>
                <a:spcPct val="100000"/>
              </a:lnSpc>
            </a:pPr>
            <a:fld id="{7E8FBB2F-8ACF-49C3-B8ED-FD33BEDBE1DF}" type="slidenum">
              <a:rPr lang="fr-FR" sz="750" b="1" strike="noStrike" spc="-1">
                <a:solidFill>
                  <a:srgbClr val="000000"/>
                </a:solidFill>
                <a:latin typeface="Marianne"/>
              </a:rPr>
              <a:t>13</a:t>
            </a:fld>
            <a:endParaRPr lang="fr-FR" sz="750" b="0" strike="noStrike" spc="-1">
              <a:latin typeface="Times New Roman"/>
            </a:endParaRPr>
          </a:p>
        </p:txBody>
      </p:sp>
      <p:sp>
        <p:nvSpPr>
          <p:cNvPr id="7" name="TextShape 2"/>
          <p:cNvSpPr txBox="1"/>
          <p:nvPr/>
        </p:nvSpPr>
        <p:spPr>
          <a:xfrm>
            <a:off x="1077362" y="1222854"/>
            <a:ext cx="7652638" cy="2443799"/>
          </a:xfrm>
          <a:prstGeom prst="rect">
            <a:avLst/>
          </a:prstGeom>
          <a:noFill/>
          <a:ln w="0">
            <a:noFill/>
          </a:ln>
        </p:spPr>
        <p:txBody>
          <a:bodyPr lIns="0" tIns="0" rIns="0" bIns="0">
            <a:noAutofit/>
          </a:bodyPr>
          <a:lstStyle/>
          <a:p>
            <a:pPr marL="351360" lvl="1" indent="-171000">
              <a:lnSpc>
                <a:spcPct val="100000"/>
              </a:lnSpc>
              <a:spcBef>
                <a:spcPts val="601"/>
              </a:spcBef>
              <a:spcAft>
                <a:spcPts val="799"/>
              </a:spcAft>
              <a:buClr>
                <a:srgbClr val="000091"/>
              </a:buClr>
              <a:buFont typeface="Wingdings" charset="2"/>
              <a:buChar char=""/>
            </a:pPr>
            <a:endParaRPr lang="fr-FR" sz="1100" b="1" spc="-1" dirty="0">
              <a:solidFill>
                <a:srgbClr val="002060"/>
              </a:solidFill>
              <a:highlight>
                <a:srgbClr val="FFFF00"/>
              </a:highlight>
              <a:latin typeface="Marianne"/>
            </a:endParaRPr>
          </a:p>
          <a:p>
            <a:pPr marL="625475" lvl="2" indent="12700">
              <a:spcBef>
                <a:spcPts val="601"/>
              </a:spcBef>
              <a:spcAft>
                <a:spcPts val="799"/>
              </a:spcAft>
              <a:buClr>
                <a:srgbClr val="000091"/>
              </a:buClr>
              <a:buFont typeface="Wingdings" charset="2"/>
              <a:buChar char=""/>
            </a:pPr>
            <a:endParaRPr lang="fr-FR" sz="1100" spc="-1" dirty="0">
              <a:solidFill>
                <a:srgbClr val="FF0000"/>
              </a:solidFill>
              <a:latin typeface="Marianne"/>
            </a:endParaRPr>
          </a:p>
        </p:txBody>
      </p:sp>
      <p:sp>
        <p:nvSpPr>
          <p:cNvPr id="8" name="TextShape 2">
            <a:extLst>
              <a:ext uri="{FF2B5EF4-FFF2-40B4-BE49-F238E27FC236}">
                <a16:creationId xmlns:a16="http://schemas.microsoft.com/office/drawing/2014/main" id="{1F0FC03B-1680-4C4F-8149-A4CD5F96AD35}"/>
              </a:ext>
            </a:extLst>
          </p:cNvPr>
          <p:cNvSpPr txBox="1"/>
          <p:nvPr/>
        </p:nvSpPr>
        <p:spPr>
          <a:xfrm>
            <a:off x="360000" y="1116909"/>
            <a:ext cx="8316000" cy="3108257"/>
          </a:xfrm>
          <a:prstGeom prst="rect">
            <a:avLst/>
          </a:prstGeom>
          <a:noFill/>
          <a:ln w="0">
            <a:noFill/>
          </a:ln>
        </p:spPr>
        <p:txBody>
          <a:bodyPr lIns="0" tIns="0" rIns="0" bIns="0">
            <a:noAutofit/>
          </a:bodyPr>
          <a:lstStyle/>
          <a:p>
            <a:pPr marL="351360" lvl="1" indent="-171000">
              <a:spcBef>
                <a:spcPts val="601"/>
              </a:spcBef>
              <a:spcAft>
                <a:spcPts val="799"/>
              </a:spcAft>
              <a:buClr>
                <a:srgbClr val="000091"/>
              </a:buClr>
              <a:buFont typeface="Wingdings" charset="2"/>
              <a:buChar char=""/>
            </a:pPr>
            <a:r>
              <a:rPr lang="en-US" sz="1100" b="1" spc="-1" dirty="0">
                <a:latin typeface="Marianne"/>
              </a:rPr>
              <a:t>Incentives for battery or fuel cell electric retrofit: </a:t>
            </a:r>
          </a:p>
          <a:p>
            <a:pPr marL="809010" lvl="2" indent="-171450">
              <a:lnSpc>
                <a:spcPct val="100000"/>
              </a:lnSpc>
              <a:spcBef>
                <a:spcPts val="601"/>
              </a:spcBef>
              <a:spcAft>
                <a:spcPts val="799"/>
              </a:spcAft>
              <a:buClr>
                <a:srgbClr val="000091"/>
              </a:buClr>
              <a:buFont typeface="Arial" panose="020B0604020202020204" pitchFamily="34" charset="0"/>
              <a:buChar char="•"/>
            </a:pPr>
            <a:r>
              <a:rPr lang="en-US" sz="1100" b="1" spc="-1" dirty="0">
                <a:latin typeface="Marianne"/>
              </a:rPr>
              <a:t>Retrofit premium</a:t>
            </a:r>
            <a:r>
              <a:rPr lang="en-US" sz="1100" spc="-1" dirty="0">
                <a:latin typeface="Marianne"/>
              </a:rPr>
              <a:t>: the maximum amount reaches up to 5 000 € for the transformation of a passenger car and up to 9 000 € for the transformation of a light-duty vehicle.</a:t>
            </a:r>
          </a:p>
          <a:p>
            <a:pPr marL="809010" lvl="2" indent="-171450">
              <a:lnSpc>
                <a:spcPct val="100000"/>
              </a:lnSpc>
              <a:spcBef>
                <a:spcPts val="601"/>
              </a:spcBef>
              <a:spcAft>
                <a:spcPts val="799"/>
              </a:spcAft>
              <a:buClr>
                <a:srgbClr val="000091"/>
              </a:buClr>
              <a:buFont typeface="Arial" panose="020B0604020202020204" pitchFamily="34" charset="0"/>
              <a:buChar char="•"/>
            </a:pPr>
            <a:r>
              <a:rPr lang="en-US" sz="1100" b="1" spc="-1" dirty="0">
                <a:latin typeface="Marianne"/>
              </a:rPr>
              <a:t>Additional premium in low-emission zones (LEZ)</a:t>
            </a:r>
            <a:r>
              <a:rPr lang="en-US" sz="1100" spc="-1" dirty="0">
                <a:latin typeface="Marianne"/>
              </a:rPr>
              <a:t>: its amount varies from 1 000 € to reach up to 3 000 € if a local subsidy of at least €2 000 is granted for the same purpose.</a:t>
            </a:r>
          </a:p>
          <a:p>
            <a:pPr marL="809010" lvl="2" indent="-171450">
              <a:lnSpc>
                <a:spcPct val="100000"/>
              </a:lnSpc>
              <a:spcBef>
                <a:spcPts val="601"/>
              </a:spcBef>
              <a:spcAft>
                <a:spcPts val="799"/>
              </a:spcAft>
              <a:buClr>
                <a:srgbClr val="000091"/>
              </a:buClr>
              <a:buFont typeface="Arial" panose="020B0604020202020204" pitchFamily="34" charset="0"/>
              <a:buChar char="•"/>
            </a:pPr>
            <a:r>
              <a:rPr lang="en-US" sz="1100" b="1" spc="-1" dirty="0">
                <a:latin typeface="Marianne"/>
              </a:rPr>
              <a:t>Zero-interest loan in LEZ: </a:t>
            </a:r>
            <a:r>
              <a:rPr lang="en-US" sz="1100" spc="-1" dirty="0">
                <a:latin typeface="Marianne"/>
              </a:rPr>
              <a:t>electric retrofit has been made eligible to the zero-interest loan in LEZ for the purchase</a:t>
            </a:r>
            <a:r>
              <a:rPr lang="en-GB" sz="1100" spc="-1" dirty="0">
                <a:latin typeface="Marianne"/>
              </a:rPr>
              <a:t> by households subject to income conditions of an EV or a PHEV emitting less than 50 gCO2/km.</a:t>
            </a:r>
            <a:endParaRPr lang="en-US" sz="1100" spc="-1" dirty="0">
              <a:latin typeface="Marianne"/>
            </a:endParaRPr>
          </a:p>
          <a:p>
            <a:pPr marL="809010" lvl="2" indent="-171450">
              <a:lnSpc>
                <a:spcPct val="100000"/>
              </a:lnSpc>
              <a:spcBef>
                <a:spcPts val="601"/>
              </a:spcBef>
              <a:spcAft>
                <a:spcPts val="799"/>
              </a:spcAft>
              <a:buClr>
                <a:srgbClr val="000091"/>
              </a:buClr>
              <a:buFont typeface="Arial" panose="020B0604020202020204" pitchFamily="34" charset="0"/>
              <a:buChar char="•"/>
            </a:pPr>
            <a:r>
              <a:rPr lang="en-US" sz="1100" b="1" spc="-1" dirty="0">
                <a:latin typeface="Marianne"/>
              </a:rPr>
              <a:t>“Ecosystems for heavy electric vehicles” tender</a:t>
            </a:r>
            <a:r>
              <a:rPr lang="en-US" sz="1100" spc="-1" dirty="0">
                <a:latin typeface="Marianne"/>
              </a:rPr>
              <a:t>: launched in 2022, and renewed in 2023, with a budget of 60 million €, including 55 million € exclusively for trucks and 5 million € for coaches. All three winning coaches projects announced in September were retrofit projects. This call for project is renewed in 2024 with a budget of 130 million €. </a:t>
            </a:r>
          </a:p>
          <a:p>
            <a:pPr marL="351810" lvl="1" indent="-171450">
              <a:spcBef>
                <a:spcPts val="601"/>
              </a:spcBef>
              <a:spcAft>
                <a:spcPts val="799"/>
              </a:spcAft>
              <a:buClr>
                <a:srgbClr val="000091"/>
              </a:buClr>
              <a:buFont typeface="Wingdings" panose="05000000000000000000" pitchFamily="2" charset="2"/>
              <a:buChar char="ü"/>
            </a:pPr>
            <a:r>
              <a:rPr lang="en-US" sz="1100" b="1" spc="-1" dirty="0">
                <a:latin typeface="Marianne"/>
              </a:rPr>
              <a:t>Observation : </a:t>
            </a:r>
            <a:r>
              <a:rPr lang="en-GB" sz="1100" dirty="0">
                <a:effectLst/>
                <a:latin typeface="Marianne" panose="02000000000000000000" pitchFamily="50" charset="0"/>
                <a:ea typeface="Calibri" panose="020F0502020204030204" pitchFamily="34" charset="0"/>
                <a:cs typeface="Times New Roman" panose="02020603050405020304" pitchFamily="18" charset="0"/>
              </a:rPr>
              <a:t>electric retrofitting remains at a very early stage to this day for passenger cars, notably due to technical difficulties and costs linked to the adaptation of security systems, but is growing for heavier vehicles, especially coaches, as well as for low-power two- and three-wheelers. </a:t>
            </a:r>
            <a:endParaRPr lang="fr-FR" sz="1100" dirty="0">
              <a:effectLst/>
              <a:latin typeface="Marianne" panose="02000000000000000000" pitchFamily="50" charset="0"/>
              <a:ea typeface="Calibri" panose="020F0502020204030204" pitchFamily="34" charset="0"/>
              <a:cs typeface="Times New Roman" panose="02020603050405020304" pitchFamily="18" charset="0"/>
            </a:endParaRPr>
          </a:p>
          <a:p>
            <a:pPr marL="351810" lvl="1" indent="-171450">
              <a:spcBef>
                <a:spcPts val="601"/>
              </a:spcBef>
              <a:spcAft>
                <a:spcPts val="799"/>
              </a:spcAft>
              <a:buClr>
                <a:srgbClr val="000091"/>
              </a:buClr>
              <a:buFont typeface="Wingdings" panose="05000000000000000000" pitchFamily="2" charset="2"/>
              <a:buChar char="ü"/>
            </a:pPr>
            <a:endParaRPr lang="en-US" sz="1100" spc="-1" dirty="0">
              <a:solidFill>
                <a:srgbClr val="002060"/>
              </a:solidFill>
              <a:latin typeface="Marianne"/>
            </a:endParaRPr>
          </a:p>
          <a:p>
            <a:pPr marL="808560" lvl="2" indent="-171000">
              <a:lnSpc>
                <a:spcPct val="100000"/>
              </a:lnSpc>
              <a:spcBef>
                <a:spcPts val="601"/>
              </a:spcBef>
              <a:spcAft>
                <a:spcPts val="799"/>
              </a:spcAft>
              <a:buClr>
                <a:srgbClr val="000091"/>
              </a:buClr>
              <a:buFont typeface="Wingdings" charset="2"/>
              <a:buChar char=""/>
            </a:pPr>
            <a:endParaRPr lang="en-US" sz="1100" b="1" spc="-1" dirty="0">
              <a:solidFill>
                <a:srgbClr val="002060"/>
              </a:solidFill>
              <a:latin typeface="Marianne"/>
            </a:endParaRPr>
          </a:p>
          <a:p>
            <a:pPr marL="351360" lvl="1" indent="-171000">
              <a:spcBef>
                <a:spcPts val="601"/>
              </a:spcBef>
              <a:spcAft>
                <a:spcPts val="799"/>
              </a:spcAft>
              <a:buClr>
                <a:srgbClr val="000091"/>
              </a:buClr>
              <a:buFont typeface="Wingdings" charset="2"/>
              <a:buChar char=""/>
            </a:pPr>
            <a:endParaRPr lang="en-US" sz="1100" b="1" spc="-1" dirty="0">
              <a:solidFill>
                <a:srgbClr val="002060"/>
              </a:solidFill>
              <a:latin typeface="Marianne"/>
            </a:endParaRPr>
          </a:p>
        </p:txBody>
      </p:sp>
      <p:sp>
        <p:nvSpPr>
          <p:cNvPr id="11" name="ZoneTexte 10">
            <a:extLst>
              <a:ext uri="{FF2B5EF4-FFF2-40B4-BE49-F238E27FC236}">
                <a16:creationId xmlns:a16="http://schemas.microsoft.com/office/drawing/2014/main" id="{1F5329D6-31C1-4F75-BBB4-D978EAA220DF}"/>
              </a:ext>
            </a:extLst>
          </p:cNvPr>
          <p:cNvSpPr txBox="1"/>
          <p:nvPr/>
        </p:nvSpPr>
        <p:spPr>
          <a:xfrm>
            <a:off x="8279339" y="4809260"/>
            <a:ext cx="576064" cy="369332"/>
          </a:xfrm>
          <a:prstGeom prst="rect">
            <a:avLst/>
          </a:prstGeom>
          <a:solidFill>
            <a:schemeClr val="bg1"/>
          </a:solidFill>
        </p:spPr>
        <p:txBody>
          <a:bodyPr wrap="square" rtlCol="0">
            <a:spAutoFit/>
          </a:bodyPr>
          <a:lstStyle/>
          <a:p>
            <a:endParaRPr lang="fr-FR" dirty="0"/>
          </a:p>
        </p:txBody>
      </p:sp>
    </p:spTree>
    <p:extLst>
      <p:ext uri="{BB962C8B-B14F-4D97-AF65-F5344CB8AC3E}">
        <p14:creationId xmlns:p14="http://schemas.microsoft.com/office/powerpoint/2010/main" val="39028683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p:txBody>
          <a:bodyPr/>
          <a:lstStyle/>
          <a:p>
            <a:r>
              <a:rPr lang="fr-FR" dirty="0"/>
              <a:t>Transport </a:t>
            </a:r>
            <a:r>
              <a:rPr lang="fr-FR" dirty="0" err="1"/>
              <a:t>is</a:t>
            </a:r>
            <a:r>
              <a:rPr lang="fr-FR" dirty="0"/>
              <a:t> </a:t>
            </a:r>
            <a:r>
              <a:rPr lang="fr-FR" dirty="0" err="1"/>
              <a:t>France’s</a:t>
            </a:r>
            <a:r>
              <a:rPr lang="fr-FR" dirty="0"/>
              <a:t> </a:t>
            </a:r>
            <a:r>
              <a:rPr lang="fr-FR" dirty="0" err="1"/>
              <a:t>most</a:t>
            </a:r>
            <a:r>
              <a:rPr lang="fr-FR" dirty="0"/>
              <a:t> CO2-emitting </a:t>
            </a:r>
            <a:r>
              <a:rPr lang="fr-FR" dirty="0" err="1"/>
              <a:t>sector</a:t>
            </a:r>
            <a:endParaRPr lang="fr-FR" dirty="0"/>
          </a:p>
        </p:txBody>
      </p:sp>
      <p:sp>
        <p:nvSpPr>
          <p:cNvPr id="4" name="Espace réservé du numéro de diapositive 3"/>
          <p:cNvSpPr>
            <a:spLocks noGrp="1"/>
          </p:cNvSpPr>
          <p:nvPr>
            <p:ph type="sldNum" sz="quarter" idx="12"/>
          </p:nvPr>
        </p:nvSpPr>
        <p:spPr/>
        <p:txBody>
          <a:bodyPr/>
          <a:lstStyle/>
          <a:p>
            <a:fld id="{733122C9-A0B9-462F-8757-0847AD287B63}" type="slidenum">
              <a:rPr lang="fr-FR" smtClean="0"/>
              <a:pPr/>
              <a:t>2</a:t>
            </a:fld>
            <a:endParaRPr lang="fr-FR" dirty="0"/>
          </a:p>
        </p:txBody>
      </p:sp>
      <p:sp>
        <p:nvSpPr>
          <p:cNvPr id="16" name="Espace réservé du contenu 8">
            <a:extLst>
              <a:ext uri="{FF2B5EF4-FFF2-40B4-BE49-F238E27FC236}">
                <a16:creationId xmlns:a16="http://schemas.microsoft.com/office/drawing/2014/main" id="{5F23CA55-0E5A-4556-ABDF-3ED28851FB54}"/>
              </a:ext>
            </a:extLst>
          </p:cNvPr>
          <p:cNvSpPr txBox="1">
            <a:spLocks/>
          </p:cNvSpPr>
          <p:nvPr/>
        </p:nvSpPr>
        <p:spPr>
          <a:xfrm>
            <a:off x="359999" y="1797950"/>
            <a:ext cx="3203889" cy="2718016"/>
          </a:xfrm>
          <a:prstGeom prst="rect">
            <a:avLst/>
          </a:prstGeom>
        </p:spPr>
        <p:txBody>
          <a:bodyPr/>
          <a:lstStyle>
            <a:lvl1pPr marL="0" indent="0" algn="l" defTabSz="914400" rtl="0" eaLnBrk="1" latinLnBrk="0" hangingPunct="1">
              <a:lnSpc>
                <a:spcPct val="100000"/>
              </a:lnSpc>
              <a:spcBef>
                <a:spcPts val="0"/>
              </a:spcBef>
              <a:spcAft>
                <a:spcPts val="500"/>
              </a:spcAft>
              <a:buFont typeface="Arial" pitchFamily="34" charset="0"/>
              <a:buNone/>
              <a:defRPr sz="1050" b="0" kern="1200">
                <a:solidFill>
                  <a:schemeClr val="tx1"/>
                </a:solidFill>
                <a:latin typeface="+mn-lt"/>
                <a:ea typeface="+mn-ea"/>
                <a:cs typeface="+mn-cs"/>
              </a:defRPr>
            </a:lvl1pPr>
            <a:lvl2pPr marL="252000" indent="-72000" algn="l" defTabSz="914400" rtl="0" eaLnBrk="1" latinLnBrk="0" hangingPunct="1">
              <a:lnSpc>
                <a:spcPct val="100000"/>
              </a:lnSpc>
              <a:spcBef>
                <a:spcPts val="600"/>
              </a:spcBef>
              <a:spcAft>
                <a:spcPts val="600"/>
              </a:spcAft>
              <a:buFont typeface="Arial" pitchFamily="34" charset="0"/>
              <a:buChar char="•"/>
              <a:defRPr sz="950" kern="1200">
                <a:solidFill>
                  <a:schemeClr val="tx1"/>
                </a:solidFill>
                <a:latin typeface="+mn-lt"/>
                <a:ea typeface="+mn-ea"/>
                <a:cs typeface="+mn-cs"/>
              </a:defRPr>
            </a:lvl2pPr>
            <a:lvl3pPr marL="432000" indent="-72000" algn="l" defTabSz="914400" rtl="0" eaLnBrk="1" latinLnBrk="0" hangingPunct="1">
              <a:lnSpc>
                <a:spcPct val="100000"/>
              </a:lnSpc>
              <a:spcBef>
                <a:spcPts val="100"/>
              </a:spcBef>
              <a:spcAft>
                <a:spcPts val="100"/>
              </a:spcAft>
              <a:buSzPct val="100000"/>
              <a:buFont typeface="Arial" pitchFamily="34" charset="0"/>
              <a:buChar char="•"/>
              <a:defRPr sz="850" kern="1200">
                <a:solidFill>
                  <a:schemeClr val="tx1"/>
                </a:solidFill>
                <a:latin typeface="+mn-lt"/>
                <a:ea typeface="+mn-ea"/>
                <a:cs typeface="+mn-cs"/>
              </a:defRPr>
            </a:lvl3pPr>
            <a:lvl4pPr marL="612000" indent="-72000" algn="l" defTabSz="914400"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8000" indent="-72000" algn="l" defTabSz="914400"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buFont typeface="Arial" pitchFamily="34" charset="0"/>
              <a:buChar char="•"/>
            </a:pPr>
            <a:r>
              <a:rPr lang="en-US"/>
              <a:t>The transport sector is responsible for 31% of French greenhouse gas (GHG) emissions. It is the only sector to have seen its emissions increase between 1990 and 2019 (+9%).</a:t>
            </a:r>
          </a:p>
          <a:p>
            <a:pPr marL="171450" indent="-171450">
              <a:buFont typeface="Arial" pitchFamily="34" charset="0"/>
              <a:buChar char="•"/>
            </a:pPr>
            <a:endParaRPr lang="en-US"/>
          </a:p>
          <a:p>
            <a:pPr marL="171450" indent="-171450">
              <a:buFont typeface="Arial" pitchFamily="34" charset="0"/>
              <a:buChar char="•"/>
            </a:pPr>
            <a:r>
              <a:rPr lang="en-US"/>
              <a:t>Private cars alone are responsible for more than half of total emissions (20% LCVs and 20% HGVs).</a:t>
            </a:r>
          </a:p>
          <a:p>
            <a:pPr marL="171450" indent="-171450">
              <a:buFont typeface="Arial" pitchFamily="34" charset="0"/>
              <a:buChar char="•"/>
            </a:pPr>
            <a:endParaRPr lang="en-US"/>
          </a:p>
          <a:p>
            <a:pPr marL="171450" indent="-171450">
              <a:buFont typeface="Arial" pitchFamily="34" charset="0"/>
              <a:buChar char="•"/>
            </a:pPr>
            <a:r>
              <a:rPr lang="en-US"/>
              <a:t>Outdoor air pollution in our country causes 40,000 premature deaths per year (i.e. 9% of mortality in France).</a:t>
            </a:r>
            <a:endParaRPr lang="fr-FR"/>
          </a:p>
          <a:p>
            <a:pPr marL="171450" indent="-171450">
              <a:buFont typeface="Arial" pitchFamily="34" charset="0"/>
              <a:buChar char="•"/>
            </a:pPr>
            <a:endParaRPr lang="fr-FR"/>
          </a:p>
          <a:p>
            <a:pPr marL="171450" indent="-171450">
              <a:buFont typeface="Arial" pitchFamily="34" charset="0"/>
              <a:buChar char="•"/>
            </a:pPr>
            <a:endParaRPr lang="fr-FR"/>
          </a:p>
          <a:p>
            <a:pPr marL="171450" indent="-171450">
              <a:buFont typeface="Arial" pitchFamily="34" charset="0"/>
              <a:buChar char="•"/>
            </a:pPr>
            <a:endParaRPr lang="fr-FR" dirty="0"/>
          </a:p>
        </p:txBody>
      </p:sp>
      <p:pic>
        <p:nvPicPr>
          <p:cNvPr id="17" name="Picture 2">
            <a:extLst>
              <a:ext uri="{FF2B5EF4-FFF2-40B4-BE49-F238E27FC236}">
                <a16:creationId xmlns:a16="http://schemas.microsoft.com/office/drawing/2014/main" id="{B11803C5-BB2D-4EF6-A4D3-59C3E9B6AA4A}"/>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7899"/>
          <a:stretch/>
        </p:blipFill>
        <p:spPr bwMode="auto">
          <a:xfrm>
            <a:off x="3479273" y="1779662"/>
            <a:ext cx="5304726" cy="25674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2648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6"/>
          <p:cNvSpPr>
            <a:spLocks noGrp="1"/>
          </p:cNvSpPr>
          <p:nvPr>
            <p:ph type="title"/>
          </p:nvPr>
        </p:nvSpPr>
        <p:spPr>
          <a:xfrm>
            <a:off x="359999" y="900000"/>
            <a:ext cx="4428025" cy="720000"/>
          </a:xfrm>
        </p:spPr>
        <p:txBody>
          <a:bodyPr/>
          <a:lstStyle/>
          <a:p>
            <a:r>
              <a:rPr lang="fr-FR" dirty="0" err="1"/>
              <a:t>Benefits</a:t>
            </a:r>
            <a:r>
              <a:rPr lang="fr-FR" dirty="0"/>
              <a:t> of a switch </a:t>
            </a:r>
            <a:r>
              <a:rPr lang="fr-FR" dirty="0" err="1"/>
              <a:t>from</a:t>
            </a:r>
            <a:r>
              <a:rPr lang="fr-FR" dirty="0"/>
              <a:t> ICE to </a:t>
            </a:r>
            <a:r>
              <a:rPr lang="fr-FR" dirty="0" err="1"/>
              <a:t>EVs</a:t>
            </a:r>
            <a:endParaRPr lang="fr-FR" dirty="0"/>
          </a:p>
        </p:txBody>
      </p:sp>
      <p:sp>
        <p:nvSpPr>
          <p:cNvPr id="4" name="Espace réservé du numéro de diapositive 3"/>
          <p:cNvSpPr>
            <a:spLocks noGrp="1"/>
          </p:cNvSpPr>
          <p:nvPr>
            <p:ph type="sldNum" sz="quarter" idx="12"/>
          </p:nvPr>
        </p:nvSpPr>
        <p:spPr/>
        <p:txBody>
          <a:bodyPr/>
          <a:lstStyle/>
          <a:p>
            <a:fld id="{733122C9-A0B9-462F-8757-0847AD287B63}" type="slidenum">
              <a:rPr lang="fr-FR" smtClean="0"/>
              <a:pPr/>
              <a:t>3</a:t>
            </a:fld>
            <a:endParaRPr lang="fr-FR" dirty="0"/>
          </a:p>
        </p:txBody>
      </p:sp>
      <p:sp>
        <p:nvSpPr>
          <p:cNvPr id="16" name="Espace réservé du contenu 8">
            <a:extLst>
              <a:ext uri="{FF2B5EF4-FFF2-40B4-BE49-F238E27FC236}">
                <a16:creationId xmlns:a16="http://schemas.microsoft.com/office/drawing/2014/main" id="{5F23CA55-0E5A-4556-ABDF-3ED28851FB54}"/>
              </a:ext>
            </a:extLst>
          </p:cNvPr>
          <p:cNvSpPr txBox="1">
            <a:spLocks/>
          </p:cNvSpPr>
          <p:nvPr/>
        </p:nvSpPr>
        <p:spPr>
          <a:xfrm>
            <a:off x="359999" y="1797950"/>
            <a:ext cx="3203889" cy="2718016"/>
          </a:xfrm>
          <a:prstGeom prst="rect">
            <a:avLst/>
          </a:prstGeom>
        </p:spPr>
        <p:txBody>
          <a:bodyPr/>
          <a:lstStyle>
            <a:lvl1pPr marL="0" indent="0" algn="l" defTabSz="914400" rtl="0" eaLnBrk="1" latinLnBrk="0" hangingPunct="1">
              <a:lnSpc>
                <a:spcPct val="100000"/>
              </a:lnSpc>
              <a:spcBef>
                <a:spcPts val="0"/>
              </a:spcBef>
              <a:spcAft>
                <a:spcPts val="500"/>
              </a:spcAft>
              <a:buFont typeface="Arial" pitchFamily="34" charset="0"/>
              <a:buNone/>
              <a:defRPr sz="1050" b="0" kern="1200">
                <a:solidFill>
                  <a:schemeClr val="tx1"/>
                </a:solidFill>
                <a:latin typeface="+mn-lt"/>
                <a:ea typeface="+mn-ea"/>
                <a:cs typeface="+mn-cs"/>
              </a:defRPr>
            </a:lvl1pPr>
            <a:lvl2pPr marL="252000" indent="-72000" algn="l" defTabSz="914400" rtl="0" eaLnBrk="1" latinLnBrk="0" hangingPunct="1">
              <a:lnSpc>
                <a:spcPct val="100000"/>
              </a:lnSpc>
              <a:spcBef>
                <a:spcPts val="600"/>
              </a:spcBef>
              <a:spcAft>
                <a:spcPts val="600"/>
              </a:spcAft>
              <a:buFont typeface="Arial" pitchFamily="34" charset="0"/>
              <a:buChar char="•"/>
              <a:defRPr sz="950" kern="1200">
                <a:solidFill>
                  <a:schemeClr val="tx1"/>
                </a:solidFill>
                <a:latin typeface="+mn-lt"/>
                <a:ea typeface="+mn-ea"/>
                <a:cs typeface="+mn-cs"/>
              </a:defRPr>
            </a:lvl2pPr>
            <a:lvl3pPr marL="432000" indent="-72000" algn="l" defTabSz="914400" rtl="0" eaLnBrk="1" latinLnBrk="0" hangingPunct="1">
              <a:lnSpc>
                <a:spcPct val="100000"/>
              </a:lnSpc>
              <a:spcBef>
                <a:spcPts val="100"/>
              </a:spcBef>
              <a:spcAft>
                <a:spcPts val="100"/>
              </a:spcAft>
              <a:buSzPct val="100000"/>
              <a:buFont typeface="Arial" pitchFamily="34" charset="0"/>
              <a:buChar char="•"/>
              <a:defRPr sz="850" kern="1200">
                <a:solidFill>
                  <a:schemeClr val="tx1"/>
                </a:solidFill>
                <a:latin typeface="+mn-lt"/>
                <a:ea typeface="+mn-ea"/>
                <a:cs typeface="+mn-cs"/>
              </a:defRPr>
            </a:lvl3pPr>
            <a:lvl4pPr marL="612000" indent="-72000" algn="l" defTabSz="914400"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8000" indent="-72000" algn="l" defTabSz="914400"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buFont typeface="Arial" pitchFamily="34" charset="0"/>
              <a:buChar char="•"/>
            </a:pPr>
            <a:r>
              <a:rPr lang="en-US" dirty="0"/>
              <a:t>The life cycle analysis (LCA) of private vehicles shows that electric vehicles emit on average five times less than thermal vehicles when taking into account "well-to-wheel" emissions, in the French context.</a:t>
            </a:r>
          </a:p>
          <a:p>
            <a:pPr marL="171450" indent="-171450">
              <a:buFont typeface="Arial" pitchFamily="34" charset="0"/>
              <a:buChar char="•"/>
            </a:pPr>
            <a:r>
              <a:rPr lang="en-US" dirty="0"/>
              <a:t>This difference is also marked with regard to hybrid and plug-in hybrid engines.</a:t>
            </a:r>
          </a:p>
          <a:p>
            <a:pPr marL="171450" indent="-171450">
              <a:buFont typeface="Arial" pitchFamily="34" charset="0"/>
              <a:buChar char="•"/>
            </a:pPr>
            <a:r>
              <a:rPr lang="en-US" dirty="0"/>
              <a:t>Since the availability of biofuels is limited, they will be directed towards sectors for which electrification is impossible.</a:t>
            </a:r>
          </a:p>
          <a:p>
            <a:pPr marL="171450" indent="-171450">
              <a:buFont typeface="Arial" pitchFamily="34" charset="0"/>
              <a:buChar char="•"/>
            </a:pPr>
            <a:r>
              <a:rPr lang="en-US" dirty="0"/>
              <a:t>The French and European strategies therefore aim for massive electrification</a:t>
            </a:r>
          </a:p>
          <a:p>
            <a:pPr marL="171450" indent="-171450">
              <a:buFont typeface="Arial" pitchFamily="34" charset="0"/>
              <a:buChar char="•"/>
            </a:pPr>
            <a:r>
              <a:rPr lang="en-US" dirty="0"/>
              <a:t>Source: </a:t>
            </a:r>
            <a:r>
              <a:rPr lang="en-US" dirty="0" err="1"/>
              <a:t>Avere</a:t>
            </a:r>
            <a:r>
              <a:rPr lang="en-US" dirty="0"/>
              <a:t>, T&amp;E, ICCT</a:t>
            </a:r>
            <a:endParaRPr lang="fr-FR" dirty="0"/>
          </a:p>
          <a:p>
            <a:pPr marL="171450" indent="-171450">
              <a:buFont typeface="Arial" pitchFamily="34" charset="0"/>
              <a:buChar char="•"/>
            </a:pPr>
            <a:endParaRPr lang="fr-FR" dirty="0"/>
          </a:p>
          <a:p>
            <a:pPr marL="171450" indent="-171450">
              <a:buFont typeface="Arial" pitchFamily="34" charset="0"/>
              <a:buChar char="•"/>
            </a:pPr>
            <a:endParaRPr lang="fr-FR" dirty="0"/>
          </a:p>
        </p:txBody>
      </p:sp>
      <p:pic>
        <p:nvPicPr>
          <p:cNvPr id="6" name="Image 5">
            <a:extLst>
              <a:ext uri="{FF2B5EF4-FFF2-40B4-BE49-F238E27FC236}">
                <a16:creationId xmlns:a16="http://schemas.microsoft.com/office/drawing/2014/main" id="{22F05D64-353E-46DA-B91A-272818F1E0A6}"/>
              </a:ext>
            </a:extLst>
          </p:cNvPr>
          <p:cNvPicPr>
            <a:picLocks noChangeAspect="1"/>
          </p:cNvPicPr>
          <p:nvPr/>
        </p:nvPicPr>
        <p:blipFill>
          <a:blip r:embed="rId2"/>
          <a:stretch>
            <a:fillRect/>
          </a:stretch>
        </p:blipFill>
        <p:spPr>
          <a:xfrm>
            <a:off x="4417066" y="133154"/>
            <a:ext cx="4547422" cy="4451010"/>
          </a:xfrm>
          <a:prstGeom prst="rect">
            <a:avLst/>
          </a:prstGeom>
        </p:spPr>
      </p:pic>
    </p:spTree>
    <p:extLst>
      <p:ext uri="{BB962C8B-B14F-4D97-AF65-F5344CB8AC3E}">
        <p14:creationId xmlns:p14="http://schemas.microsoft.com/office/powerpoint/2010/main" val="14453768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733122C9-A0B9-462F-8757-0847AD287B63}" type="slidenum">
              <a:rPr lang="fr-FR" smtClean="0"/>
              <a:pPr/>
              <a:t>4</a:t>
            </a:fld>
            <a:endParaRPr lang="fr-FR" dirty="0"/>
          </a:p>
        </p:txBody>
      </p:sp>
      <p:sp>
        <p:nvSpPr>
          <p:cNvPr id="6" name="Titre 1">
            <a:extLst>
              <a:ext uri="{FF2B5EF4-FFF2-40B4-BE49-F238E27FC236}">
                <a16:creationId xmlns:a16="http://schemas.microsoft.com/office/drawing/2014/main" id="{3AB391A8-B834-4692-A036-F4C34553C414}"/>
              </a:ext>
            </a:extLst>
          </p:cNvPr>
          <p:cNvSpPr txBox="1">
            <a:spLocks/>
          </p:cNvSpPr>
          <p:nvPr/>
        </p:nvSpPr>
        <p:spPr bwMode="gray">
          <a:xfrm>
            <a:off x="1619672" y="267494"/>
            <a:ext cx="8424000" cy="720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550" b="1" kern="1200">
                <a:solidFill>
                  <a:schemeClr val="tx1"/>
                </a:solidFill>
                <a:latin typeface="+mj-lt"/>
                <a:ea typeface="+mj-ea"/>
                <a:cs typeface="+mj-cs"/>
              </a:defRPr>
            </a:lvl1pPr>
          </a:lstStyle>
          <a:p>
            <a:r>
              <a:rPr lang="fr-FR" dirty="0"/>
              <a:t>Objectives</a:t>
            </a:r>
          </a:p>
        </p:txBody>
      </p:sp>
      <p:sp>
        <p:nvSpPr>
          <p:cNvPr id="9" name="TextShape 2">
            <a:extLst>
              <a:ext uri="{FF2B5EF4-FFF2-40B4-BE49-F238E27FC236}">
                <a16:creationId xmlns:a16="http://schemas.microsoft.com/office/drawing/2014/main" id="{DED0AF88-2548-4CA2-A644-097F03CD57C5}"/>
              </a:ext>
            </a:extLst>
          </p:cNvPr>
          <p:cNvSpPr txBox="1"/>
          <p:nvPr/>
        </p:nvSpPr>
        <p:spPr>
          <a:xfrm>
            <a:off x="398981" y="989775"/>
            <a:ext cx="8400138" cy="2413346"/>
          </a:xfrm>
          <a:prstGeom prst="rect">
            <a:avLst/>
          </a:prstGeom>
          <a:noFill/>
          <a:ln w="0">
            <a:noFill/>
          </a:ln>
        </p:spPr>
        <p:txBody>
          <a:bodyPr lIns="0" tIns="0" rIns="0" bIns="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indent="-276840" algn="just">
              <a:spcBef>
                <a:spcPts val="601"/>
              </a:spcBef>
              <a:spcAft>
                <a:spcPts val="799"/>
              </a:spcAft>
              <a:buClr>
                <a:srgbClr val="000091"/>
              </a:buClr>
            </a:pPr>
            <a:r>
              <a:rPr lang="en-US" sz="1050" b="1" spc="-1" dirty="0">
                <a:latin typeface="Marianne"/>
              </a:rPr>
              <a:t>The transition towards zero emission vehicles is thus a key lever to reach carbon neutrality </a:t>
            </a:r>
            <a:r>
              <a:rPr lang="en-US" sz="1050" spc="-1" dirty="0">
                <a:latin typeface="Marianne"/>
              </a:rPr>
              <a:t>(alongside mitigation of demand, </a:t>
            </a:r>
            <a:r>
              <a:rPr lang="en-US" sz="1050" b="1" spc="-1" dirty="0">
                <a:latin typeface="Marianne"/>
              </a:rPr>
              <a:t>modal shifts to active travel, vehicle use </a:t>
            </a:r>
            <a:r>
              <a:rPr lang="en-US" sz="1050" b="1" spc="-1" dirty="0" err="1">
                <a:latin typeface="Marianne"/>
              </a:rPr>
              <a:t>optimisation</a:t>
            </a:r>
            <a:r>
              <a:rPr lang="en-US" sz="1050" spc="-1" dirty="0">
                <a:latin typeface="Marianne"/>
              </a:rPr>
              <a:t>, …)</a:t>
            </a:r>
          </a:p>
          <a:p>
            <a:pPr indent="-276840" algn="just">
              <a:spcBef>
                <a:spcPts val="601"/>
              </a:spcBef>
              <a:spcAft>
                <a:spcPts val="799"/>
              </a:spcAft>
              <a:buClr>
                <a:srgbClr val="000091"/>
              </a:buClr>
            </a:pPr>
            <a:r>
              <a:rPr lang="fr-FR" sz="1050" spc="-1" dirty="0">
                <a:latin typeface="Marianne"/>
              </a:rPr>
              <a:t>The French </a:t>
            </a:r>
            <a:r>
              <a:rPr lang="fr-FR" sz="1050" spc="-1" dirty="0" err="1">
                <a:latin typeface="Marianne"/>
              </a:rPr>
              <a:t>energy</a:t>
            </a:r>
            <a:r>
              <a:rPr lang="fr-FR" sz="1050" spc="-1" dirty="0">
                <a:latin typeface="Marianne"/>
              </a:rPr>
              <a:t> and </a:t>
            </a:r>
            <a:r>
              <a:rPr lang="fr-FR" sz="1050" spc="-1" dirty="0" err="1">
                <a:latin typeface="Marianne"/>
              </a:rPr>
              <a:t>climate</a:t>
            </a:r>
            <a:r>
              <a:rPr lang="fr-FR" sz="1050" spc="-1" dirty="0">
                <a:latin typeface="Marianne"/>
              </a:rPr>
              <a:t> </a:t>
            </a:r>
            <a:r>
              <a:rPr lang="fr-FR" sz="1050" spc="-1" dirty="0" err="1">
                <a:latin typeface="Marianne"/>
              </a:rPr>
              <a:t>strategy</a:t>
            </a:r>
            <a:r>
              <a:rPr lang="fr-FR" sz="1050" spc="-1" dirty="0">
                <a:latin typeface="Marianne"/>
              </a:rPr>
              <a:t> </a:t>
            </a:r>
            <a:r>
              <a:rPr lang="fr-FR" sz="1050" spc="-1" dirty="0" err="1">
                <a:latin typeface="Marianne"/>
              </a:rPr>
              <a:t>explicitly</a:t>
            </a:r>
            <a:r>
              <a:rPr lang="fr-FR" sz="1050" spc="-1" dirty="0">
                <a:latin typeface="Marianne"/>
              </a:rPr>
              <a:t> </a:t>
            </a:r>
            <a:r>
              <a:rPr lang="fr-FR" sz="1050" spc="-1" dirty="0" err="1">
                <a:latin typeface="Marianne"/>
              </a:rPr>
              <a:t>stipulates</a:t>
            </a:r>
            <a:r>
              <a:rPr lang="fr-FR" sz="1050" spc="-1" dirty="0">
                <a:latin typeface="Marianne"/>
              </a:rPr>
              <a:t> </a:t>
            </a:r>
            <a:r>
              <a:rPr lang="fr-FR" sz="1050" spc="-1" dirty="0" err="1">
                <a:latin typeface="Marianne"/>
              </a:rPr>
              <a:t>that</a:t>
            </a:r>
            <a:r>
              <a:rPr lang="fr-FR" sz="1050" spc="-1" dirty="0">
                <a:latin typeface="Marianne"/>
              </a:rPr>
              <a:t> </a:t>
            </a:r>
            <a:r>
              <a:rPr lang="fr-FR" sz="1050" b="1" spc="-1" dirty="0">
                <a:latin typeface="Marianne"/>
              </a:rPr>
              <a:t>direct </a:t>
            </a:r>
            <a:r>
              <a:rPr lang="fr-FR" sz="1050" b="1" spc="-1" dirty="0" err="1">
                <a:latin typeface="Marianne"/>
              </a:rPr>
              <a:t>electrification</a:t>
            </a:r>
            <a:r>
              <a:rPr lang="fr-FR" sz="1050" b="1" spc="-1" dirty="0">
                <a:latin typeface="Marianne"/>
              </a:rPr>
              <a:t>,</a:t>
            </a:r>
            <a:r>
              <a:rPr lang="fr-FR" sz="1050" spc="-1" dirty="0">
                <a:latin typeface="Marianne"/>
              </a:rPr>
              <a:t> i.e. </a:t>
            </a:r>
            <a:r>
              <a:rPr lang="fr-FR" sz="1050" spc="-1" dirty="0" err="1">
                <a:latin typeface="Marianne"/>
              </a:rPr>
              <a:t>battery</a:t>
            </a:r>
            <a:r>
              <a:rPr lang="fr-FR" sz="1050" spc="-1" dirty="0">
                <a:latin typeface="Marianne"/>
              </a:rPr>
              <a:t> </a:t>
            </a:r>
            <a:r>
              <a:rPr lang="fr-FR" sz="1050" spc="-1" dirty="0" err="1">
                <a:latin typeface="Marianne"/>
              </a:rPr>
              <a:t>electric</a:t>
            </a:r>
            <a:r>
              <a:rPr lang="fr-FR" sz="1050" spc="-1" dirty="0">
                <a:latin typeface="Marianne"/>
              </a:rPr>
              <a:t> </a:t>
            </a:r>
            <a:r>
              <a:rPr lang="fr-FR" sz="1050" spc="-1" dirty="0" err="1">
                <a:latin typeface="Marianne"/>
              </a:rPr>
              <a:t>vehicles</a:t>
            </a:r>
            <a:r>
              <a:rPr lang="fr-FR" sz="1050" spc="-1" dirty="0">
                <a:latin typeface="Marianne"/>
              </a:rPr>
              <a:t> (BEV), </a:t>
            </a:r>
            <a:r>
              <a:rPr lang="fr-FR" sz="1050" b="1" spc="-1" dirty="0" err="1">
                <a:latin typeface="Marianne"/>
              </a:rPr>
              <a:t>should</a:t>
            </a:r>
            <a:r>
              <a:rPr lang="fr-FR" sz="1050" b="1" spc="-1" dirty="0">
                <a:latin typeface="Marianne"/>
              </a:rPr>
              <a:t> </a:t>
            </a:r>
            <a:r>
              <a:rPr lang="fr-FR" sz="1050" b="1" spc="-1" dirty="0" err="1">
                <a:latin typeface="Marianne"/>
              </a:rPr>
              <a:t>be</a:t>
            </a:r>
            <a:r>
              <a:rPr lang="fr-FR" sz="1050" b="1" spc="-1" dirty="0">
                <a:latin typeface="Marianne"/>
              </a:rPr>
              <a:t> </a:t>
            </a:r>
            <a:r>
              <a:rPr lang="fr-FR" sz="1050" b="1" spc="-1" dirty="0" err="1">
                <a:latin typeface="Marianne"/>
              </a:rPr>
              <a:t>systematically</a:t>
            </a:r>
            <a:r>
              <a:rPr lang="fr-FR" sz="1050" b="1" spc="-1" dirty="0">
                <a:latin typeface="Marianne"/>
              </a:rPr>
              <a:t> </a:t>
            </a:r>
            <a:r>
              <a:rPr lang="fr-FR" sz="1050" b="1" spc="-1" dirty="0" err="1">
                <a:latin typeface="Marianne"/>
              </a:rPr>
              <a:t>implemented</a:t>
            </a:r>
            <a:r>
              <a:rPr lang="fr-FR" sz="1050" b="1" spc="-1" dirty="0">
                <a:latin typeface="Marianne"/>
              </a:rPr>
              <a:t>, </a:t>
            </a:r>
            <a:r>
              <a:rPr lang="fr-FR" sz="1050" spc="-1" dirty="0" err="1">
                <a:latin typeface="Marianne"/>
              </a:rPr>
              <a:t>wherever</a:t>
            </a:r>
            <a:r>
              <a:rPr lang="fr-FR" sz="1050" spc="-1" dirty="0">
                <a:latin typeface="Marianne"/>
              </a:rPr>
              <a:t> possible. </a:t>
            </a:r>
            <a:endParaRPr lang="en-US" sz="1050" b="1" spc="-1" dirty="0">
              <a:latin typeface="Marianne"/>
            </a:endParaRPr>
          </a:p>
          <a:p>
            <a:pPr indent="-276840" algn="just">
              <a:spcBef>
                <a:spcPts val="601"/>
              </a:spcBef>
              <a:spcAft>
                <a:spcPts val="799"/>
              </a:spcAft>
              <a:buClr>
                <a:srgbClr val="000091"/>
              </a:buClr>
            </a:pPr>
            <a:r>
              <a:rPr lang="en-US" sz="1050" b="1" spc="-1" dirty="0">
                <a:latin typeface="Marianne"/>
              </a:rPr>
              <a:t>National objectives: </a:t>
            </a:r>
          </a:p>
          <a:p>
            <a:pPr marL="809010" lvl="2" indent="-171450" algn="just">
              <a:spcBef>
                <a:spcPts val="601"/>
              </a:spcBef>
              <a:spcAft>
                <a:spcPts val="799"/>
              </a:spcAft>
              <a:buClr>
                <a:srgbClr val="000091"/>
              </a:buClr>
              <a:buFont typeface="Arial" panose="020B0604020202020204" pitchFamily="34" charset="0"/>
              <a:buChar char="•"/>
            </a:pPr>
            <a:r>
              <a:rPr lang="en-US" sz="1050" spc="-1" dirty="0">
                <a:latin typeface="Marianne"/>
              </a:rPr>
              <a:t>Phase out of new passenger cars emitting more than 123 gCO2/km by 2030</a:t>
            </a:r>
          </a:p>
          <a:p>
            <a:pPr marL="809010" lvl="2" indent="-171450" algn="just">
              <a:spcBef>
                <a:spcPts val="601"/>
              </a:spcBef>
              <a:spcAft>
                <a:spcPts val="799"/>
              </a:spcAft>
              <a:buClr>
                <a:srgbClr val="000091"/>
              </a:buClr>
              <a:buFont typeface="Arial" panose="020B0604020202020204" pitchFamily="34" charset="0"/>
              <a:buChar char="•"/>
            </a:pPr>
            <a:r>
              <a:rPr lang="en-US" sz="1050" spc="-1" dirty="0">
                <a:latin typeface="Marianne"/>
              </a:rPr>
              <a:t>Phase out of new heavy duty vehicles using mostly fossil fuels by 2040</a:t>
            </a:r>
          </a:p>
          <a:p>
            <a:pPr marL="809010" lvl="2" indent="-171450" algn="just">
              <a:spcBef>
                <a:spcPts val="601"/>
              </a:spcBef>
              <a:spcAft>
                <a:spcPts val="799"/>
              </a:spcAft>
              <a:buClr>
                <a:srgbClr val="000091"/>
              </a:buClr>
              <a:buFont typeface="Arial" panose="020B0604020202020204" pitchFamily="34" charset="0"/>
              <a:buChar char="•"/>
            </a:pPr>
            <a:r>
              <a:rPr lang="en-US" sz="1050" spc="-1" dirty="0">
                <a:latin typeface="Marianne"/>
              </a:rPr>
              <a:t>Full land transport </a:t>
            </a:r>
            <a:r>
              <a:rPr lang="en-US" sz="1050" spc="-1" dirty="0" err="1">
                <a:latin typeface="Marianne"/>
              </a:rPr>
              <a:t>decarbonisation</a:t>
            </a:r>
            <a:r>
              <a:rPr lang="en-US" sz="1050" spc="-1" dirty="0">
                <a:latin typeface="Marianne"/>
              </a:rPr>
              <a:t> by 2050</a:t>
            </a:r>
          </a:p>
          <a:p>
            <a:pPr indent="-276840" algn="just">
              <a:spcBef>
                <a:spcPts val="601"/>
              </a:spcBef>
              <a:spcAft>
                <a:spcPts val="799"/>
              </a:spcAft>
              <a:buClr>
                <a:srgbClr val="000091"/>
              </a:buClr>
            </a:pPr>
            <a:r>
              <a:rPr lang="fr-FR" sz="1050" b="1" spc="-1" dirty="0">
                <a:latin typeface="Marianne"/>
              </a:rPr>
              <a:t>EU objectives : </a:t>
            </a:r>
          </a:p>
          <a:p>
            <a:pPr marL="809010" lvl="2" indent="-171450" algn="just">
              <a:spcBef>
                <a:spcPts val="601"/>
              </a:spcBef>
              <a:spcAft>
                <a:spcPts val="799"/>
              </a:spcAft>
              <a:buClr>
                <a:srgbClr val="000091"/>
              </a:buClr>
              <a:buFont typeface="Arial" panose="020B0604020202020204" pitchFamily="34" charset="0"/>
              <a:buChar char="•"/>
            </a:pPr>
            <a:r>
              <a:rPr lang="en-US" sz="1050" spc="-1" dirty="0">
                <a:latin typeface="Marianne"/>
              </a:rPr>
              <a:t>Passenger cars and vans: end of the sales of new light internal combustion vehicles by 2035</a:t>
            </a:r>
          </a:p>
          <a:p>
            <a:pPr marL="809010" lvl="2" indent="-171450" algn="just">
              <a:spcBef>
                <a:spcPts val="601"/>
              </a:spcBef>
              <a:spcAft>
                <a:spcPts val="799"/>
              </a:spcAft>
              <a:buClr>
                <a:srgbClr val="000091"/>
              </a:buClr>
              <a:buFont typeface="Arial" panose="020B0604020202020204" pitchFamily="34" charset="0"/>
              <a:buChar char="•"/>
            </a:pPr>
            <a:r>
              <a:rPr lang="en-US" sz="1050" spc="-1" dirty="0">
                <a:latin typeface="Marianne"/>
              </a:rPr>
              <a:t>Heavy-duty vehicles : emissions reduction targets of -15% for 2025, -45% for 2030, -65% for 2035 and -90% for 2040. Target of 90% zero emission urban buses in 2030 and 100% in 2035</a:t>
            </a:r>
            <a:endParaRPr lang="fr-FR" sz="1050" spc="-1" dirty="0">
              <a:latin typeface="Marianne"/>
            </a:endParaRPr>
          </a:p>
          <a:p>
            <a:pPr marL="625475" lvl="2" indent="12700">
              <a:spcBef>
                <a:spcPts val="601"/>
              </a:spcBef>
              <a:spcAft>
                <a:spcPts val="799"/>
              </a:spcAft>
              <a:buClr>
                <a:srgbClr val="000091"/>
              </a:buClr>
              <a:buFont typeface="Wingdings" charset="2"/>
              <a:buChar char=""/>
            </a:pPr>
            <a:endParaRPr lang="fr-FR" sz="1100" spc="-1" dirty="0">
              <a:solidFill>
                <a:srgbClr val="FF0000"/>
              </a:solidFill>
              <a:latin typeface="Marianne"/>
            </a:endParaRPr>
          </a:p>
        </p:txBody>
      </p:sp>
      <p:pic>
        <p:nvPicPr>
          <p:cNvPr id="10" name="Image 9">
            <a:extLst>
              <a:ext uri="{FF2B5EF4-FFF2-40B4-BE49-F238E27FC236}">
                <a16:creationId xmlns:a16="http://schemas.microsoft.com/office/drawing/2014/main" id="{859979A3-F8AA-4804-B7E9-97084E6EC063}"/>
              </a:ext>
            </a:extLst>
          </p:cNvPr>
          <p:cNvPicPr>
            <a:picLocks noChangeAspect="1"/>
          </p:cNvPicPr>
          <p:nvPr/>
        </p:nvPicPr>
        <p:blipFill>
          <a:blip r:embed="rId2"/>
          <a:stretch>
            <a:fillRect/>
          </a:stretch>
        </p:blipFill>
        <p:spPr>
          <a:xfrm rot="20727885">
            <a:off x="240400" y="2416614"/>
            <a:ext cx="556130" cy="556130"/>
          </a:xfrm>
          <a:prstGeom prst="rect">
            <a:avLst/>
          </a:prstGeom>
        </p:spPr>
      </p:pic>
      <p:pic>
        <p:nvPicPr>
          <p:cNvPr id="11" name="Image 10">
            <a:extLst>
              <a:ext uri="{FF2B5EF4-FFF2-40B4-BE49-F238E27FC236}">
                <a16:creationId xmlns:a16="http://schemas.microsoft.com/office/drawing/2014/main" id="{AEF56ED0-7600-4832-AD46-8D1A8EDC2B2F}"/>
              </a:ext>
            </a:extLst>
          </p:cNvPr>
          <p:cNvPicPr>
            <a:picLocks noChangeAspect="1"/>
          </p:cNvPicPr>
          <p:nvPr/>
        </p:nvPicPr>
        <p:blipFill rotWithShape="1">
          <a:blip r:embed="rId3"/>
          <a:srcRect b="29577"/>
          <a:stretch/>
        </p:blipFill>
        <p:spPr>
          <a:xfrm rot="20747175">
            <a:off x="289588" y="3857493"/>
            <a:ext cx="550105" cy="387400"/>
          </a:xfrm>
          <a:prstGeom prst="rect">
            <a:avLst/>
          </a:prstGeom>
        </p:spPr>
      </p:pic>
    </p:spTree>
    <p:extLst>
      <p:ext uri="{BB962C8B-B14F-4D97-AF65-F5344CB8AC3E}">
        <p14:creationId xmlns:p14="http://schemas.microsoft.com/office/powerpoint/2010/main" val="26630279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BCC01F3-33B9-8AEB-4533-7E7BF3C959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4" imgW="416" imgH="416" progId="TCLayout.ActiveDocument.1">
                  <p:embed/>
                </p:oleObj>
              </mc:Choice>
              <mc:Fallback>
                <p:oleObj name="think-cell Slide" r:id="rId94" imgW="416" imgH="416" progId="TCLayout.ActiveDocument.1">
                  <p:embed/>
                  <p:pic>
                    <p:nvPicPr>
                      <p:cNvPr id="2" name="Object 1" hidden="1">
                        <a:extLst>
                          <a:ext uri="{FF2B5EF4-FFF2-40B4-BE49-F238E27FC236}">
                            <a16:creationId xmlns:a16="http://schemas.microsoft.com/office/drawing/2014/main" id="{6BCC01F3-33B9-8AEB-4533-7E7BF3C959DD}"/>
                          </a:ext>
                        </a:extLst>
                      </p:cNvPr>
                      <p:cNvPicPr/>
                      <p:nvPr/>
                    </p:nvPicPr>
                    <p:blipFill>
                      <a:blip r:embed="rId95"/>
                      <a:stretch>
                        <a:fillRect/>
                      </a:stretch>
                    </p:blipFill>
                    <p:spPr>
                      <a:xfrm>
                        <a:off x="1588" y="1588"/>
                        <a:ext cx="1588" cy="1588"/>
                      </a:xfrm>
                      <a:prstGeom prst="rect">
                        <a:avLst/>
                      </a:prstGeom>
                    </p:spPr>
                  </p:pic>
                </p:oleObj>
              </mc:Fallback>
            </mc:AlternateContent>
          </a:graphicData>
        </a:graphic>
      </p:graphicFrame>
      <p:sp>
        <p:nvSpPr>
          <p:cNvPr id="9" name="Espace réservé du numéro de diapositive 8"/>
          <p:cNvSpPr>
            <a:spLocks noGrp="1"/>
          </p:cNvSpPr>
          <p:nvPr>
            <p:ph type="sldNum" sz="quarter" idx="12"/>
          </p:nvPr>
        </p:nvSpPr>
        <p:spPr/>
        <p:txBody>
          <a:bodyPr/>
          <a:lstStyle/>
          <a:p>
            <a:fld id="{733122C9-A0B9-462F-8757-0847AD287B63}" type="slidenum">
              <a:rPr lang="fr-FR" smtClean="0"/>
              <a:pPr/>
              <a:t>5</a:t>
            </a:fld>
            <a:endParaRPr lang="fr-FR" dirty="0"/>
          </a:p>
        </p:txBody>
      </p:sp>
      <p:cxnSp>
        <p:nvCxnSpPr>
          <p:cNvPr id="148" name="Straight Connector 147">
            <a:extLst>
              <a:ext uri="{FF2B5EF4-FFF2-40B4-BE49-F238E27FC236}">
                <a16:creationId xmlns:a16="http://schemas.microsoft.com/office/drawing/2014/main" id="{AE99C5BC-C027-022E-8133-CF5A29649F3E}"/>
              </a:ext>
            </a:extLst>
          </p:cNvPr>
          <p:cNvCxnSpPr/>
          <p:nvPr>
            <p:custDataLst>
              <p:tags r:id="rId2"/>
            </p:custDataLst>
          </p:nvPr>
        </p:nvCxnSpPr>
        <p:spPr bwMode="auto">
          <a:xfrm>
            <a:off x="2024063" y="4151179"/>
            <a:ext cx="0" cy="4286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99758642-6A24-BB91-9044-61EB8F6E01BB}"/>
              </a:ext>
            </a:extLst>
          </p:cNvPr>
          <p:cNvCxnSpPr/>
          <p:nvPr>
            <p:custDataLst>
              <p:tags r:id="rId3"/>
            </p:custDataLst>
          </p:nvPr>
        </p:nvCxnSpPr>
        <p:spPr bwMode="auto">
          <a:xfrm>
            <a:off x="755650" y="4151179"/>
            <a:ext cx="0" cy="4286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Straight Connector 145">
            <a:extLst>
              <a:ext uri="{FF2B5EF4-FFF2-40B4-BE49-F238E27FC236}">
                <a16:creationId xmlns:a16="http://schemas.microsoft.com/office/drawing/2014/main" id="{104BD6CB-08F3-D196-7FCB-59EC68A8D5B4}"/>
              </a:ext>
            </a:extLst>
          </p:cNvPr>
          <p:cNvCxnSpPr/>
          <p:nvPr>
            <p:custDataLst>
              <p:tags r:id="rId4"/>
            </p:custDataLst>
          </p:nvPr>
        </p:nvCxnSpPr>
        <p:spPr bwMode="auto">
          <a:xfrm>
            <a:off x="1177925" y="4151179"/>
            <a:ext cx="0" cy="4286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C232D6D8-F591-0DB3-5595-2F44DBFE796D}"/>
              </a:ext>
            </a:extLst>
          </p:cNvPr>
          <p:cNvCxnSpPr/>
          <p:nvPr>
            <p:custDataLst>
              <p:tags r:id="rId5"/>
            </p:custDataLst>
          </p:nvPr>
        </p:nvCxnSpPr>
        <p:spPr bwMode="auto">
          <a:xfrm>
            <a:off x="1600200" y="4151179"/>
            <a:ext cx="0" cy="4286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8DB9BDBE-C9F8-8BED-66E2-C8C4532736E0}"/>
              </a:ext>
            </a:extLst>
          </p:cNvPr>
          <p:cNvCxnSpPr/>
          <p:nvPr>
            <p:custDataLst>
              <p:tags r:id="rId6"/>
            </p:custDataLst>
          </p:nvPr>
        </p:nvCxnSpPr>
        <p:spPr bwMode="auto">
          <a:xfrm>
            <a:off x="2446338" y="4151179"/>
            <a:ext cx="0" cy="4286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Straight Connector 183">
            <a:extLst>
              <a:ext uri="{FF2B5EF4-FFF2-40B4-BE49-F238E27FC236}">
                <a16:creationId xmlns:a16="http://schemas.microsoft.com/office/drawing/2014/main" id="{03947300-BBDC-034F-1265-DB003F5A1B92}"/>
              </a:ext>
            </a:extLst>
          </p:cNvPr>
          <p:cNvCxnSpPr/>
          <p:nvPr>
            <p:custDataLst>
              <p:tags r:id="rId7"/>
            </p:custDataLst>
          </p:nvPr>
        </p:nvCxnSpPr>
        <p:spPr bwMode="auto">
          <a:xfrm>
            <a:off x="2868613" y="4151179"/>
            <a:ext cx="0" cy="4286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9" name="Chart 88">
            <a:extLst>
              <a:ext uri="{FF2B5EF4-FFF2-40B4-BE49-F238E27FC236}">
                <a16:creationId xmlns:a16="http://schemas.microsoft.com/office/drawing/2014/main" id="{786D93E5-098F-1315-9BA5-9718705CB3B4}"/>
              </a:ext>
            </a:extLst>
          </p:cNvPr>
          <p:cNvGraphicFramePr/>
          <p:nvPr>
            <p:custDataLst>
              <p:tags r:id="rId8"/>
            </p:custDataLst>
          </p:nvPr>
        </p:nvGraphicFramePr>
        <p:xfrm>
          <a:off x="249238" y="1749291"/>
          <a:ext cx="2701925" cy="2500313"/>
        </p:xfrm>
        <a:graphic>
          <a:graphicData uri="http://schemas.openxmlformats.org/drawingml/2006/chart">
            <c:chart xmlns:c="http://schemas.openxmlformats.org/drawingml/2006/chart" xmlns:r="http://schemas.openxmlformats.org/officeDocument/2006/relationships" r:id="rId96"/>
          </a:graphicData>
        </a:graphic>
      </p:graphicFrame>
      <p:sp>
        <p:nvSpPr>
          <p:cNvPr id="228" name="Espace réservé du texte 2">
            <a:extLst>
              <a:ext uri="{FF2B5EF4-FFF2-40B4-BE49-F238E27FC236}">
                <a16:creationId xmlns:a16="http://schemas.microsoft.com/office/drawing/2014/main" id="{3ACB598F-6832-E835-375B-BB9BF2F436C5}"/>
              </a:ext>
            </a:extLst>
          </p:cNvPr>
          <p:cNvSpPr>
            <a:spLocks noGrp="1"/>
          </p:cNvSpPr>
          <p:nvPr>
            <p:custDataLst>
              <p:tags r:id="rId9"/>
            </p:custDataLst>
          </p:nvPr>
        </p:nvSpPr>
        <p:spPr bwMode="gray">
          <a:xfrm>
            <a:off x="1470025" y="4236904"/>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D32AF160-2264-4593-90A9-1708354FADEF}" type="datetime'''2''''0''''''''''''''''''''2''''''''''''5'''''''''''''''''">
              <a:rPr lang="fr-FR" altLang="en-US" sz="1000" smtClean="0">
                <a:latin typeface="+mn-lt"/>
              </a:rPr>
              <a:pPr/>
              <a:t>2025</a:t>
            </a:fld>
            <a:endParaRPr lang="fr-FR" sz="1000" noProof="0" dirty="0">
              <a:latin typeface="+mn-lt"/>
            </a:endParaRPr>
          </a:p>
        </p:txBody>
      </p:sp>
      <p:sp>
        <p:nvSpPr>
          <p:cNvPr id="227" name="Espace réservé du texte 2">
            <a:extLst>
              <a:ext uri="{FF2B5EF4-FFF2-40B4-BE49-F238E27FC236}">
                <a16:creationId xmlns:a16="http://schemas.microsoft.com/office/drawing/2014/main" id="{CEABBDB3-EF50-0D1B-A763-71EF4A3A3963}"/>
              </a:ext>
            </a:extLst>
          </p:cNvPr>
          <p:cNvSpPr>
            <a:spLocks noGrp="1"/>
          </p:cNvSpPr>
          <p:nvPr>
            <p:custDataLst>
              <p:tags r:id="rId10"/>
            </p:custDataLst>
          </p:nvPr>
        </p:nvSpPr>
        <p:spPr bwMode="gray">
          <a:xfrm>
            <a:off x="625475" y="4236904"/>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C7C432F3-DFBB-44FC-BFE0-295AE3A3D5B4}" type="datetime'''''''''''''''''2''''''''''''0''''''1''''5'''">
              <a:rPr lang="fr-FR" altLang="en-US" sz="1000" smtClean="0">
                <a:latin typeface="+mn-lt"/>
              </a:rPr>
              <a:pPr/>
              <a:t>2015</a:t>
            </a:fld>
            <a:endParaRPr lang="fr-FR" sz="1000" noProof="0" dirty="0">
              <a:latin typeface="+mn-lt"/>
            </a:endParaRPr>
          </a:p>
        </p:txBody>
      </p:sp>
      <p:sp>
        <p:nvSpPr>
          <p:cNvPr id="141" name="Espace réservé du texte 2">
            <a:extLst>
              <a:ext uri="{FF2B5EF4-FFF2-40B4-BE49-F238E27FC236}">
                <a16:creationId xmlns:a16="http://schemas.microsoft.com/office/drawing/2014/main" id="{D26BA02F-A83D-C851-F63A-3D1ADCA2EE8D}"/>
              </a:ext>
            </a:extLst>
          </p:cNvPr>
          <p:cNvSpPr>
            <a:spLocks noGrp="1"/>
          </p:cNvSpPr>
          <p:nvPr>
            <p:custDataLst>
              <p:tags r:id="rId11"/>
            </p:custDataLst>
          </p:nvPr>
        </p:nvSpPr>
        <p:spPr bwMode="gray">
          <a:xfrm>
            <a:off x="1047750" y="4236904"/>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C5A765ED-A3E7-4B6D-A759-6F58057B9298}" type="datetime'''''''''''''''''''''2''0''''2''''0'''''''''''''''''''''''">
              <a:rPr lang="fr-FR" altLang="en-US" sz="1000" smtClean="0">
                <a:latin typeface="+mn-lt"/>
              </a:rPr>
              <a:pPr/>
              <a:t>2020</a:t>
            </a:fld>
            <a:endParaRPr lang="fr-FR" sz="1000" noProof="0" dirty="0">
              <a:latin typeface="+mn-lt"/>
            </a:endParaRPr>
          </a:p>
        </p:txBody>
      </p:sp>
      <p:sp>
        <p:nvSpPr>
          <p:cNvPr id="143" name="Espace réservé du texte 2">
            <a:extLst>
              <a:ext uri="{FF2B5EF4-FFF2-40B4-BE49-F238E27FC236}">
                <a16:creationId xmlns:a16="http://schemas.microsoft.com/office/drawing/2014/main" id="{3BB2F4A5-DC60-DDA0-D5D2-FB4BC1ABA027}"/>
              </a:ext>
            </a:extLst>
          </p:cNvPr>
          <p:cNvSpPr>
            <a:spLocks noGrp="1"/>
          </p:cNvSpPr>
          <p:nvPr>
            <p:custDataLst>
              <p:tags r:id="rId12"/>
            </p:custDataLst>
          </p:nvPr>
        </p:nvSpPr>
        <p:spPr bwMode="gray">
          <a:xfrm>
            <a:off x="1893888" y="4236904"/>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5881AEC8-EABE-49F1-8E3F-37A7813BB127}" type="datetime'2''''''''''0''''''''''''''''''''''''3''''''''0'''''">
              <a:rPr lang="fr-FR" altLang="en-US" sz="1000" smtClean="0">
                <a:latin typeface="+mn-lt"/>
              </a:rPr>
              <a:pPr/>
              <a:t>2030</a:t>
            </a:fld>
            <a:endParaRPr lang="fr-FR" sz="1000" noProof="0" dirty="0">
              <a:latin typeface="+mn-lt"/>
            </a:endParaRPr>
          </a:p>
        </p:txBody>
      </p:sp>
      <p:sp>
        <p:nvSpPr>
          <p:cNvPr id="229" name="Espace réservé du texte 2">
            <a:extLst>
              <a:ext uri="{FF2B5EF4-FFF2-40B4-BE49-F238E27FC236}">
                <a16:creationId xmlns:a16="http://schemas.microsoft.com/office/drawing/2014/main" id="{6BD56C3A-D699-8735-9FCA-3884A55FD7C5}"/>
              </a:ext>
            </a:extLst>
          </p:cNvPr>
          <p:cNvSpPr>
            <a:spLocks noGrp="1"/>
          </p:cNvSpPr>
          <p:nvPr>
            <p:custDataLst>
              <p:tags r:id="rId13"/>
            </p:custDataLst>
          </p:nvPr>
        </p:nvSpPr>
        <p:spPr bwMode="gray">
          <a:xfrm>
            <a:off x="2316163" y="4236904"/>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5C849C07-FCB4-4E51-8BF4-F5D0AC09BD71}" type="datetime'''2''''''''0''''''''''3''''''''''5'''''''''''''''''">
              <a:rPr lang="fr-FR" altLang="en-US" sz="1000" smtClean="0">
                <a:latin typeface="+mn-lt"/>
              </a:rPr>
              <a:pPr/>
              <a:t>2035</a:t>
            </a:fld>
            <a:endParaRPr lang="fr-FR" sz="1000" noProof="0" dirty="0">
              <a:latin typeface="+mn-lt"/>
            </a:endParaRPr>
          </a:p>
        </p:txBody>
      </p:sp>
      <p:sp>
        <p:nvSpPr>
          <p:cNvPr id="182" name="Espace réservé du texte 2">
            <a:extLst>
              <a:ext uri="{FF2B5EF4-FFF2-40B4-BE49-F238E27FC236}">
                <a16:creationId xmlns:a16="http://schemas.microsoft.com/office/drawing/2014/main" id="{69789C94-AF92-4643-D59B-C9D54C4FA500}"/>
              </a:ext>
            </a:extLst>
          </p:cNvPr>
          <p:cNvSpPr>
            <a:spLocks noGrp="1"/>
          </p:cNvSpPr>
          <p:nvPr>
            <p:custDataLst>
              <p:tags r:id="rId14"/>
            </p:custDataLst>
          </p:nvPr>
        </p:nvSpPr>
        <p:spPr bwMode="gray">
          <a:xfrm>
            <a:off x="2738438" y="4236904"/>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3882EB30-36E7-4C9D-A5A4-33F5A8BAA2C7}" type="datetime'''''''2''''''''''0''''''''4''''''''''''''0'''''''''''''''''''">
              <a:rPr lang="fr-FR" altLang="en-US" sz="1000" smtClean="0">
                <a:latin typeface="+mn-lt"/>
              </a:rPr>
              <a:pPr/>
              <a:t>2040</a:t>
            </a:fld>
            <a:endParaRPr lang="fr-FR" sz="1000" noProof="0" dirty="0">
              <a:latin typeface="+mn-lt"/>
            </a:endParaRPr>
          </a:p>
        </p:txBody>
      </p:sp>
      <p:sp>
        <p:nvSpPr>
          <p:cNvPr id="250" name="Espace réservé du texte 2">
            <a:extLst>
              <a:ext uri="{FF2B5EF4-FFF2-40B4-BE49-F238E27FC236}">
                <a16:creationId xmlns:a16="http://schemas.microsoft.com/office/drawing/2014/main" id="{E0921F10-8397-8668-1AF1-CA792F2A21B2}"/>
              </a:ext>
            </a:extLst>
          </p:cNvPr>
          <p:cNvSpPr>
            <a:spLocks noGrp="1"/>
          </p:cNvSpPr>
          <p:nvPr>
            <p:custDataLst>
              <p:tags r:id="rId15"/>
            </p:custDataLst>
          </p:nvPr>
        </p:nvSpPr>
        <p:spPr bwMode="gray">
          <a:xfrm>
            <a:off x="787400" y="3925754"/>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80342033-3B89-4979-852C-E4000337E8D5}" type="datetime'''''''''''''''''0'''''''''''''''',9''''''''%'">
              <a:rPr lang="fr-FR" altLang="en-US" sz="1000" smtClean="0">
                <a:latin typeface="+mn-lt"/>
              </a:rPr>
              <a:pPr/>
              <a:t>0,9%</a:t>
            </a:fld>
            <a:endParaRPr lang="fr-FR" sz="1000" noProof="0" dirty="0">
              <a:latin typeface="+mn-lt"/>
            </a:endParaRPr>
          </a:p>
        </p:txBody>
      </p:sp>
      <p:sp useBgFill="1">
        <p:nvSpPr>
          <p:cNvPr id="247" name="Espace réservé du texte 2">
            <a:extLst>
              <a:ext uri="{FF2B5EF4-FFF2-40B4-BE49-F238E27FC236}">
                <a16:creationId xmlns:a16="http://schemas.microsoft.com/office/drawing/2014/main" id="{26A9635D-771B-56A0-99A2-AD78E2254150}"/>
              </a:ext>
            </a:extLst>
          </p:cNvPr>
          <p:cNvSpPr>
            <a:spLocks noGrp="1"/>
          </p:cNvSpPr>
          <p:nvPr>
            <p:custDataLst>
              <p:tags r:id="rId16"/>
            </p:custDataLst>
          </p:nvPr>
        </p:nvSpPr>
        <p:spPr bwMode="gray">
          <a:xfrm>
            <a:off x="1171575" y="3644766"/>
            <a:ext cx="352425" cy="152400"/>
          </a:xfrm>
          <a:prstGeom prst="rect">
            <a:avLst/>
          </a:prstGeom>
          <a:ln>
            <a:noFill/>
          </a:ln>
          <a:effectLst/>
        </p:spPr>
        <p:txBody>
          <a:bodyPr vert="horz" wrap="none" lIns="17463" tIns="0" rIns="17463"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0B252EE1-B12C-4696-9D61-814EE12C7F3C}" type="datetime'''1''''''''''''''''3'',''''''''''''''1''''''''''''''''''''%'">
              <a:rPr lang="fr-FR" altLang="en-US" sz="1000" smtClean="0">
                <a:effectLst/>
                <a:latin typeface="+mn-lt"/>
              </a:rPr>
              <a:pPr/>
              <a:t>13,1%</a:t>
            </a:fld>
            <a:endParaRPr lang="fr-FR" sz="1000" noProof="0" dirty="0">
              <a:latin typeface="+mn-lt"/>
            </a:endParaRPr>
          </a:p>
        </p:txBody>
      </p:sp>
      <p:sp useBgFill="1">
        <p:nvSpPr>
          <p:cNvPr id="6" name="Espace réservé du texte 2">
            <a:extLst>
              <a:ext uri="{FF2B5EF4-FFF2-40B4-BE49-F238E27FC236}">
                <a16:creationId xmlns:a16="http://schemas.microsoft.com/office/drawing/2014/main" id="{D7E5D7A4-0447-505C-6A3A-738F7765E0A6}"/>
              </a:ext>
            </a:extLst>
          </p:cNvPr>
          <p:cNvSpPr>
            <a:spLocks noGrp="1"/>
          </p:cNvSpPr>
          <p:nvPr>
            <p:custDataLst>
              <p:tags r:id="rId17"/>
            </p:custDataLst>
          </p:nvPr>
        </p:nvSpPr>
        <p:spPr bwMode="gray">
          <a:xfrm>
            <a:off x="1171575" y="3644766"/>
            <a:ext cx="352425" cy="152400"/>
          </a:xfrm>
          <a:prstGeom prst="rect">
            <a:avLst/>
          </a:prstGeom>
          <a:ln>
            <a:noFill/>
          </a:ln>
          <a:effectLst/>
        </p:spPr>
        <p:txBody>
          <a:bodyPr vert="horz" wrap="none" lIns="17463" tIns="0" rIns="17463"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8ABA0298-AA56-4F70-BAB9-2EE0835BB8F1}" type="datetime'''''''''''''1''''''''''''''3'''''',1''''''''''''''%'">
              <a:rPr lang="fr-FR" altLang="en-US" sz="1000" smtClean="0">
                <a:effectLst/>
                <a:latin typeface="+mn-lt"/>
              </a:rPr>
              <a:pPr/>
              <a:t>13,1%</a:t>
            </a:fld>
            <a:endParaRPr lang="fr-FR" sz="1000" noProof="0" dirty="0">
              <a:latin typeface="+mn-lt"/>
            </a:endParaRPr>
          </a:p>
        </p:txBody>
      </p:sp>
      <p:sp useBgFill="1">
        <p:nvSpPr>
          <p:cNvPr id="7" name="Espace réservé du texte 2">
            <a:extLst>
              <a:ext uri="{FF2B5EF4-FFF2-40B4-BE49-F238E27FC236}">
                <a16:creationId xmlns:a16="http://schemas.microsoft.com/office/drawing/2014/main" id="{D50D7A5C-B5E5-283C-2B1F-4FF3525F6E80}"/>
              </a:ext>
            </a:extLst>
          </p:cNvPr>
          <p:cNvSpPr>
            <a:spLocks noGrp="1"/>
          </p:cNvSpPr>
          <p:nvPr>
            <p:custDataLst>
              <p:tags r:id="rId18"/>
            </p:custDataLst>
          </p:nvPr>
        </p:nvSpPr>
        <p:spPr bwMode="gray">
          <a:xfrm>
            <a:off x="1897063" y="2481129"/>
            <a:ext cx="255588" cy="152400"/>
          </a:xfrm>
          <a:prstGeom prst="rect">
            <a:avLst/>
          </a:prstGeom>
          <a:ln>
            <a:noFill/>
          </a:ln>
          <a:effectLst/>
        </p:spPr>
        <p:txBody>
          <a:bodyPr vert="horz" wrap="none" lIns="17463" tIns="0" rIns="17463"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r>
              <a:rPr lang="fr-FR" altLang="en-US" sz="1000" dirty="0">
                <a:effectLst/>
                <a:latin typeface="+mn-lt"/>
              </a:rPr>
              <a:t>66%</a:t>
            </a:r>
            <a:endParaRPr lang="fr-FR" sz="1000" noProof="0" dirty="0">
              <a:latin typeface="+mn-lt"/>
            </a:endParaRPr>
          </a:p>
        </p:txBody>
      </p:sp>
      <p:sp>
        <p:nvSpPr>
          <p:cNvPr id="44" name="Espace réservé du texte 2">
            <a:extLst>
              <a:ext uri="{FF2B5EF4-FFF2-40B4-BE49-F238E27FC236}">
                <a16:creationId xmlns:a16="http://schemas.microsoft.com/office/drawing/2014/main" id="{E1D07AF1-4005-55BE-AAAD-DC57D5C321F8}"/>
              </a:ext>
            </a:extLst>
          </p:cNvPr>
          <p:cNvSpPr>
            <a:spLocks noGrp="1"/>
          </p:cNvSpPr>
          <p:nvPr>
            <p:custDataLst>
              <p:tags r:id="rId19"/>
            </p:custDataLst>
          </p:nvPr>
        </p:nvSpPr>
        <p:spPr bwMode="gray">
          <a:xfrm>
            <a:off x="2238375" y="1642929"/>
            <a:ext cx="417513"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1A088775-A820-4767-B58E-D80D80CAE967}" type="datetime'''''''''''''''''''1''0''''''''''''''0,''0''''%'''''''''''''">
              <a:rPr lang="fr-FR" altLang="en-US" sz="1000" smtClean="0">
                <a:effectLst/>
                <a:latin typeface="+mn-lt"/>
              </a:rPr>
              <a:pPr/>
              <a:t>100,0%</a:t>
            </a:fld>
            <a:endParaRPr lang="fr-FR" sz="1000" noProof="0" dirty="0">
              <a:latin typeface="+mn-lt"/>
            </a:endParaRPr>
          </a:p>
        </p:txBody>
      </p:sp>
      <p:sp>
        <p:nvSpPr>
          <p:cNvPr id="190" name="Espace réservé du texte 6">
            <a:extLst>
              <a:ext uri="{FF2B5EF4-FFF2-40B4-BE49-F238E27FC236}">
                <a16:creationId xmlns:a16="http://schemas.microsoft.com/office/drawing/2014/main" id="{62FCBB68-4EE4-EF6C-BCF0-1DE39BE0BF3E}"/>
              </a:ext>
            </a:extLst>
          </p:cNvPr>
          <p:cNvSpPr txBox="1">
            <a:spLocks/>
          </p:cNvSpPr>
          <p:nvPr/>
        </p:nvSpPr>
        <p:spPr bwMode="gray">
          <a:xfrm>
            <a:off x="338501" y="1131590"/>
            <a:ext cx="2581390" cy="427846"/>
          </a:xfrm>
          <a:prstGeom prst="rect">
            <a:avLst/>
          </a:prstGeom>
          <a:solidFill>
            <a:schemeClr val="bg1"/>
          </a:solidFill>
          <a:ln>
            <a:noFill/>
          </a:ln>
          <a:effectLst>
            <a:outerShdw dist="38100" dir="5400000" algn="t" rotWithShape="0">
              <a:schemeClr val="accent1"/>
            </a:outerShdw>
          </a:effectLst>
        </p:spPr>
        <p:txBody>
          <a:bodyPr vert="horz" wrap="square" lIns="0" tIns="0" rIns="0" bIns="0" anchor="ctr" anchorCtr="0" compatLnSpc="1">
            <a:noAutofit/>
          </a:bodyPr>
          <a:lstStyle>
            <a:lvl1pPr marL="92070" marR="0" lvl="0" indent="0" algn="l" defTabSz="914400" rtl="0" fontAlgn="auto" hangingPunct="1">
              <a:lnSpc>
                <a:spcPct val="100000"/>
              </a:lnSpc>
              <a:spcBef>
                <a:spcPts val="0"/>
              </a:spcBef>
              <a:spcAft>
                <a:spcPts val="500"/>
              </a:spcAft>
              <a:buNone/>
              <a:tabLst/>
              <a:defRPr lang="fr-FR" sz="1400" b="0" i="0" u="none" strike="noStrike" kern="1200" cap="none" spc="0" baseline="0">
                <a:solidFill>
                  <a:srgbClr val="000000"/>
                </a:solidFill>
                <a:uFillTx/>
                <a:latin typeface="Marianne" pitchFamily="2"/>
              </a:defRPr>
            </a:lvl1pPr>
            <a:lvl2pPr marL="351449" marR="0" lvl="1" indent="-171450" algn="l" defTabSz="914400" rtl="0" fontAlgn="auto" hangingPunct="1">
              <a:lnSpc>
                <a:spcPct val="100000"/>
              </a:lnSpc>
              <a:spcBef>
                <a:spcPts val="600"/>
              </a:spcBef>
              <a:spcAft>
                <a:spcPts val="600"/>
              </a:spcAft>
              <a:buSzPct val="100000"/>
              <a:buFont typeface="Arial" pitchFamily="34"/>
              <a:buChar char="•"/>
              <a:tabLst/>
              <a:defRPr lang="fr-FR" sz="1200" b="0" i="0" u="none" strike="noStrike" kern="1200" cap="none" spc="0" baseline="0">
                <a:solidFill>
                  <a:srgbClr val="000000"/>
                </a:solidFill>
                <a:uFillTx/>
                <a:latin typeface="Marianne" pitchFamily="2"/>
              </a:defRPr>
            </a:lvl2pPr>
            <a:lvl3pPr marL="531449" marR="0" lvl="2" indent="-171450" algn="l" defTabSz="914400" rtl="0" fontAlgn="auto" hangingPunct="1">
              <a:lnSpc>
                <a:spcPct val="100000"/>
              </a:lnSpc>
              <a:spcBef>
                <a:spcPts val="100"/>
              </a:spcBef>
              <a:spcAft>
                <a:spcPts val="100"/>
              </a:spcAft>
              <a:buSzPct val="100000"/>
              <a:buFont typeface="Wingdings" pitchFamily="2"/>
              <a:buChar char="§"/>
              <a:tabLst/>
              <a:defRPr lang="fr-FR" sz="1000" b="0" i="0" u="none" strike="noStrike" kern="1200" cap="none" spc="0" baseline="0">
                <a:solidFill>
                  <a:srgbClr val="000000"/>
                </a:solidFill>
                <a:uFillTx/>
                <a:latin typeface="Marianne" pitchFamily="2"/>
              </a:defRPr>
            </a:lvl3pPr>
            <a:lvl4pPr marL="711448" marR="0" lvl="3" indent="-171450" algn="l" defTabSz="914400" rtl="0" fontAlgn="auto" hangingPunct="1">
              <a:lnSpc>
                <a:spcPct val="100000"/>
              </a:lnSpc>
              <a:spcBef>
                <a:spcPts val="100"/>
              </a:spcBef>
              <a:spcAft>
                <a:spcPts val="100"/>
              </a:spcAft>
              <a:buSzPct val="100000"/>
              <a:buFont typeface="Arial" pitchFamily="34"/>
              <a:buChar char="•"/>
              <a:tabLst/>
              <a:defRPr lang="fr-FR" sz="800" b="0" i="0" u="none" strike="noStrike" kern="1200" cap="none" spc="0" baseline="0">
                <a:solidFill>
                  <a:srgbClr val="000000"/>
                </a:solidFill>
                <a:uFillTx/>
                <a:latin typeface="Marianne" pitchFamily="2"/>
              </a:defRPr>
            </a:lvl4pPr>
            <a:lvl5pPr marL="927448" marR="0" lvl="4" indent="-171450" algn="l" defTabSz="914400" rtl="0" fontAlgn="auto" hangingPunct="1">
              <a:lnSpc>
                <a:spcPct val="100000"/>
              </a:lnSpc>
              <a:spcBef>
                <a:spcPts val="100"/>
              </a:spcBef>
              <a:spcAft>
                <a:spcPts val="100"/>
              </a:spcAft>
              <a:buSzPct val="100000"/>
              <a:buFont typeface="Wingdings" pitchFamily="2"/>
              <a:buChar char="§"/>
              <a:tabLst/>
              <a:defRPr lang="fr-FR" sz="700" b="0" i="0" u="none" strike="noStrike" kern="1200" cap="none" spc="0" baseline="0">
                <a:solidFill>
                  <a:srgbClr val="000000"/>
                </a:solidFill>
                <a:uFillTx/>
                <a:latin typeface="Marianne" pitchFamily="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b="1" dirty="0"/>
              <a:t>Rapid increase in the share of EVs in sales (66% in 2030)</a:t>
            </a:r>
            <a:endParaRPr lang="fr-FR" sz="1000" b="1" dirty="0"/>
          </a:p>
        </p:txBody>
      </p:sp>
      <p:sp>
        <p:nvSpPr>
          <p:cNvPr id="193" name="Espace réservé du texte 6">
            <a:extLst>
              <a:ext uri="{FF2B5EF4-FFF2-40B4-BE49-F238E27FC236}">
                <a16:creationId xmlns:a16="http://schemas.microsoft.com/office/drawing/2014/main" id="{4475B8CC-C83F-CA2D-CA40-412F990D66E5}"/>
              </a:ext>
            </a:extLst>
          </p:cNvPr>
          <p:cNvSpPr txBox="1">
            <a:spLocks/>
          </p:cNvSpPr>
          <p:nvPr/>
        </p:nvSpPr>
        <p:spPr bwMode="gray">
          <a:xfrm>
            <a:off x="3229396" y="1131590"/>
            <a:ext cx="2581390" cy="427846"/>
          </a:xfrm>
          <a:prstGeom prst="rect">
            <a:avLst/>
          </a:prstGeom>
          <a:solidFill>
            <a:schemeClr val="bg1"/>
          </a:solidFill>
          <a:ln>
            <a:noFill/>
          </a:ln>
          <a:effectLst>
            <a:outerShdw dist="38100" dir="5400000" algn="t" rotWithShape="0">
              <a:schemeClr val="accent1"/>
            </a:outerShdw>
          </a:effectLst>
        </p:spPr>
        <p:txBody>
          <a:bodyPr vert="horz" wrap="square" lIns="0" tIns="0" rIns="0" bIns="0" anchor="ctr" anchorCtr="0" compatLnSpc="1">
            <a:noAutofit/>
          </a:bodyPr>
          <a:lstStyle>
            <a:lvl1pPr marL="92070" marR="0" lvl="0" indent="0" algn="l" defTabSz="914400" rtl="0" fontAlgn="auto" hangingPunct="1">
              <a:lnSpc>
                <a:spcPct val="100000"/>
              </a:lnSpc>
              <a:spcBef>
                <a:spcPts val="0"/>
              </a:spcBef>
              <a:spcAft>
                <a:spcPts val="500"/>
              </a:spcAft>
              <a:buNone/>
              <a:tabLst/>
              <a:defRPr lang="fr-FR" sz="1400" b="0" i="0" u="none" strike="noStrike" kern="1200" cap="none" spc="0" baseline="0">
                <a:solidFill>
                  <a:srgbClr val="000000"/>
                </a:solidFill>
                <a:uFillTx/>
                <a:latin typeface="Marianne" pitchFamily="2"/>
              </a:defRPr>
            </a:lvl1pPr>
            <a:lvl2pPr marL="351449" marR="0" lvl="1" indent="-171450" algn="l" defTabSz="914400" rtl="0" fontAlgn="auto" hangingPunct="1">
              <a:lnSpc>
                <a:spcPct val="100000"/>
              </a:lnSpc>
              <a:spcBef>
                <a:spcPts val="600"/>
              </a:spcBef>
              <a:spcAft>
                <a:spcPts val="600"/>
              </a:spcAft>
              <a:buSzPct val="100000"/>
              <a:buFont typeface="Arial" pitchFamily="34"/>
              <a:buChar char="•"/>
              <a:tabLst/>
              <a:defRPr lang="fr-FR" sz="1200" b="0" i="0" u="none" strike="noStrike" kern="1200" cap="none" spc="0" baseline="0">
                <a:solidFill>
                  <a:srgbClr val="000000"/>
                </a:solidFill>
                <a:uFillTx/>
                <a:latin typeface="Marianne" pitchFamily="2"/>
              </a:defRPr>
            </a:lvl2pPr>
            <a:lvl3pPr marL="531449" marR="0" lvl="2" indent="-171450" algn="l" defTabSz="914400" rtl="0" fontAlgn="auto" hangingPunct="1">
              <a:lnSpc>
                <a:spcPct val="100000"/>
              </a:lnSpc>
              <a:spcBef>
                <a:spcPts val="100"/>
              </a:spcBef>
              <a:spcAft>
                <a:spcPts val="100"/>
              </a:spcAft>
              <a:buSzPct val="100000"/>
              <a:buFont typeface="Wingdings" pitchFamily="2"/>
              <a:buChar char="§"/>
              <a:tabLst/>
              <a:defRPr lang="fr-FR" sz="1000" b="0" i="0" u="none" strike="noStrike" kern="1200" cap="none" spc="0" baseline="0">
                <a:solidFill>
                  <a:srgbClr val="000000"/>
                </a:solidFill>
                <a:uFillTx/>
                <a:latin typeface="Marianne" pitchFamily="2"/>
              </a:defRPr>
            </a:lvl3pPr>
            <a:lvl4pPr marL="711448" marR="0" lvl="3" indent="-171450" algn="l" defTabSz="914400" rtl="0" fontAlgn="auto" hangingPunct="1">
              <a:lnSpc>
                <a:spcPct val="100000"/>
              </a:lnSpc>
              <a:spcBef>
                <a:spcPts val="100"/>
              </a:spcBef>
              <a:spcAft>
                <a:spcPts val="100"/>
              </a:spcAft>
              <a:buSzPct val="100000"/>
              <a:buFont typeface="Arial" pitchFamily="34"/>
              <a:buChar char="•"/>
              <a:tabLst/>
              <a:defRPr lang="fr-FR" sz="800" b="0" i="0" u="none" strike="noStrike" kern="1200" cap="none" spc="0" baseline="0">
                <a:solidFill>
                  <a:srgbClr val="000000"/>
                </a:solidFill>
                <a:uFillTx/>
                <a:latin typeface="Marianne" pitchFamily="2"/>
              </a:defRPr>
            </a:lvl4pPr>
            <a:lvl5pPr marL="927448" marR="0" lvl="4" indent="-171450" algn="l" defTabSz="914400" rtl="0" fontAlgn="auto" hangingPunct="1">
              <a:lnSpc>
                <a:spcPct val="100000"/>
              </a:lnSpc>
              <a:spcBef>
                <a:spcPts val="100"/>
              </a:spcBef>
              <a:spcAft>
                <a:spcPts val="100"/>
              </a:spcAft>
              <a:buSzPct val="100000"/>
              <a:buFont typeface="Wingdings" pitchFamily="2"/>
              <a:buChar char="§"/>
              <a:tabLst/>
              <a:defRPr lang="fr-FR" sz="700" b="0" i="0" u="none" strike="noStrike" kern="1200" cap="none" spc="0" baseline="0">
                <a:solidFill>
                  <a:srgbClr val="000000"/>
                </a:solidFill>
                <a:uFillTx/>
                <a:latin typeface="Marianne" pitchFamily="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b="1" dirty="0"/>
              <a:t>Catching up on total sales volume to maintain ~710kVE at an annual rate</a:t>
            </a:r>
            <a:endParaRPr lang="fr-FR" sz="1000" b="1" dirty="0"/>
          </a:p>
        </p:txBody>
      </p:sp>
      <p:sp>
        <p:nvSpPr>
          <p:cNvPr id="194" name="Espace réservé du texte 6">
            <a:extLst>
              <a:ext uri="{FF2B5EF4-FFF2-40B4-BE49-F238E27FC236}">
                <a16:creationId xmlns:a16="http://schemas.microsoft.com/office/drawing/2014/main" id="{EDF84F5C-B2B8-4876-5857-E4BC2F1A15E2}"/>
              </a:ext>
            </a:extLst>
          </p:cNvPr>
          <p:cNvSpPr txBox="1">
            <a:spLocks/>
          </p:cNvSpPr>
          <p:nvPr/>
        </p:nvSpPr>
        <p:spPr bwMode="gray">
          <a:xfrm>
            <a:off x="6120292" y="1131590"/>
            <a:ext cx="2581390" cy="427846"/>
          </a:xfrm>
          <a:prstGeom prst="rect">
            <a:avLst/>
          </a:prstGeom>
          <a:solidFill>
            <a:schemeClr val="bg1"/>
          </a:solidFill>
          <a:ln>
            <a:noFill/>
          </a:ln>
          <a:effectLst>
            <a:outerShdw dist="38100" dir="5400000" algn="t" rotWithShape="0">
              <a:schemeClr val="accent1"/>
            </a:outerShdw>
          </a:effectLst>
        </p:spPr>
        <p:txBody>
          <a:bodyPr vert="horz" wrap="square" lIns="0" tIns="0" rIns="0" bIns="0" anchor="ctr" anchorCtr="0" compatLnSpc="1">
            <a:noAutofit/>
          </a:bodyPr>
          <a:lstStyle>
            <a:lvl1pPr marL="92070" marR="0" lvl="0" indent="0" algn="l" defTabSz="914400" rtl="0" fontAlgn="auto" hangingPunct="1">
              <a:lnSpc>
                <a:spcPct val="100000"/>
              </a:lnSpc>
              <a:spcBef>
                <a:spcPts val="0"/>
              </a:spcBef>
              <a:spcAft>
                <a:spcPts val="500"/>
              </a:spcAft>
              <a:buNone/>
              <a:tabLst/>
              <a:defRPr lang="fr-FR" sz="1400" b="0" i="0" u="none" strike="noStrike" kern="1200" cap="none" spc="0" baseline="0">
                <a:solidFill>
                  <a:srgbClr val="000000"/>
                </a:solidFill>
                <a:uFillTx/>
                <a:latin typeface="Marianne" pitchFamily="2"/>
              </a:defRPr>
            </a:lvl1pPr>
            <a:lvl2pPr marL="351449" marR="0" lvl="1" indent="-171450" algn="l" defTabSz="914400" rtl="0" fontAlgn="auto" hangingPunct="1">
              <a:lnSpc>
                <a:spcPct val="100000"/>
              </a:lnSpc>
              <a:spcBef>
                <a:spcPts val="600"/>
              </a:spcBef>
              <a:spcAft>
                <a:spcPts val="600"/>
              </a:spcAft>
              <a:buSzPct val="100000"/>
              <a:buFont typeface="Arial" pitchFamily="34"/>
              <a:buChar char="•"/>
              <a:tabLst/>
              <a:defRPr lang="fr-FR" sz="1200" b="0" i="0" u="none" strike="noStrike" kern="1200" cap="none" spc="0" baseline="0">
                <a:solidFill>
                  <a:srgbClr val="000000"/>
                </a:solidFill>
                <a:uFillTx/>
                <a:latin typeface="Marianne" pitchFamily="2"/>
              </a:defRPr>
            </a:lvl2pPr>
            <a:lvl3pPr marL="531449" marR="0" lvl="2" indent="-171450" algn="l" defTabSz="914400" rtl="0" fontAlgn="auto" hangingPunct="1">
              <a:lnSpc>
                <a:spcPct val="100000"/>
              </a:lnSpc>
              <a:spcBef>
                <a:spcPts val="100"/>
              </a:spcBef>
              <a:spcAft>
                <a:spcPts val="100"/>
              </a:spcAft>
              <a:buSzPct val="100000"/>
              <a:buFont typeface="Wingdings" pitchFamily="2"/>
              <a:buChar char="§"/>
              <a:tabLst/>
              <a:defRPr lang="fr-FR" sz="1000" b="0" i="0" u="none" strike="noStrike" kern="1200" cap="none" spc="0" baseline="0">
                <a:solidFill>
                  <a:srgbClr val="000000"/>
                </a:solidFill>
                <a:uFillTx/>
                <a:latin typeface="Marianne" pitchFamily="2"/>
              </a:defRPr>
            </a:lvl3pPr>
            <a:lvl4pPr marL="711448" marR="0" lvl="3" indent="-171450" algn="l" defTabSz="914400" rtl="0" fontAlgn="auto" hangingPunct="1">
              <a:lnSpc>
                <a:spcPct val="100000"/>
              </a:lnSpc>
              <a:spcBef>
                <a:spcPts val="100"/>
              </a:spcBef>
              <a:spcAft>
                <a:spcPts val="100"/>
              </a:spcAft>
              <a:buSzPct val="100000"/>
              <a:buFont typeface="Arial" pitchFamily="34"/>
              <a:buChar char="•"/>
              <a:tabLst/>
              <a:defRPr lang="fr-FR" sz="800" b="0" i="0" u="none" strike="noStrike" kern="1200" cap="none" spc="0" baseline="0">
                <a:solidFill>
                  <a:srgbClr val="000000"/>
                </a:solidFill>
                <a:uFillTx/>
                <a:latin typeface="Marianne" pitchFamily="2"/>
              </a:defRPr>
            </a:lvl4pPr>
            <a:lvl5pPr marL="927448" marR="0" lvl="4" indent="-171450" algn="l" defTabSz="914400" rtl="0" fontAlgn="auto" hangingPunct="1">
              <a:lnSpc>
                <a:spcPct val="100000"/>
              </a:lnSpc>
              <a:spcBef>
                <a:spcPts val="100"/>
              </a:spcBef>
              <a:spcAft>
                <a:spcPts val="100"/>
              </a:spcAft>
              <a:buSzPct val="100000"/>
              <a:buFont typeface="Wingdings" pitchFamily="2"/>
              <a:buChar char="§"/>
              <a:tabLst/>
              <a:defRPr lang="fr-FR" sz="700" b="0" i="0" u="none" strike="noStrike" kern="1200" cap="none" spc="0" baseline="0">
                <a:solidFill>
                  <a:srgbClr val="000000"/>
                </a:solidFill>
                <a:uFillTx/>
                <a:latin typeface="Marianne" pitchFamily="2"/>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 b="1" dirty="0"/>
              <a:t>15% of the total PV fleet electrified in 2030, i.e. 5.7 million EVs sold by 2030</a:t>
            </a:r>
            <a:endParaRPr lang="fr-FR" sz="1000" b="1" dirty="0"/>
          </a:p>
        </p:txBody>
      </p:sp>
      <p:cxnSp>
        <p:nvCxnSpPr>
          <p:cNvPr id="199" name="Straight Connector 198">
            <a:extLst>
              <a:ext uri="{FF2B5EF4-FFF2-40B4-BE49-F238E27FC236}">
                <a16:creationId xmlns:a16="http://schemas.microsoft.com/office/drawing/2014/main" id="{37940A2D-7CA5-CBCA-5D05-7E72721BEDC4}"/>
              </a:ext>
            </a:extLst>
          </p:cNvPr>
          <p:cNvCxnSpPr/>
          <p:nvPr>
            <p:custDataLst>
              <p:tags r:id="rId20"/>
            </p:custDataLst>
          </p:nvPr>
        </p:nvCxnSpPr>
        <p:spPr bwMode="gray">
          <a:xfrm>
            <a:off x="998538" y="1866766"/>
            <a:ext cx="160338" cy="0"/>
          </a:xfrm>
          <a:prstGeom prst="line">
            <a:avLst/>
          </a:prstGeom>
          <a:ln w="1905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7278E41E-979F-329C-BF53-22E88179347B}"/>
              </a:ext>
            </a:extLst>
          </p:cNvPr>
          <p:cNvCxnSpPr/>
          <p:nvPr>
            <p:custDataLst>
              <p:tags r:id="rId21"/>
            </p:custDataLst>
          </p:nvPr>
        </p:nvCxnSpPr>
        <p:spPr bwMode="gray">
          <a:xfrm>
            <a:off x="998538" y="2069966"/>
            <a:ext cx="160338" cy="0"/>
          </a:xfrm>
          <a:prstGeom prst="line">
            <a:avLst/>
          </a:prstGeom>
          <a:ln w="19050"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8" name="Espace réservé du texte 2">
            <a:extLst>
              <a:ext uri="{FF2B5EF4-FFF2-40B4-BE49-F238E27FC236}">
                <a16:creationId xmlns:a16="http://schemas.microsoft.com/office/drawing/2014/main" id="{04D426A1-1323-DDA1-4751-AE63740222B1}"/>
              </a:ext>
            </a:extLst>
          </p:cNvPr>
          <p:cNvSpPr>
            <a:spLocks noGrp="1"/>
          </p:cNvSpPr>
          <p:nvPr>
            <p:custDataLst>
              <p:tags r:id="rId22"/>
            </p:custDataLst>
          </p:nvPr>
        </p:nvSpPr>
        <p:spPr bwMode="auto">
          <a:xfrm>
            <a:off x="1219200" y="1795329"/>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spcBef>
                <a:spcPct val="0"/>
              </a:spcBef>
              <a:spcAft>
                <a:spcPct val="0"/>
              </a:spcAft>
            </a:pPr>
            <a:r>
              <a:rPr lang="fr-FR" altLang="en-US" sz="1000" dirty="0">
                <a:latin typeface="+mn-lt"/>
              </a:rPr>
              <a:t>Historic</a:t>
            </a:r>
            <a:endParaRPr lang="fr-FR" sz="1000" noProof="0" dirty="0">
              <a:latin typeface="+mn-lt"/>
            </a:endParaRPr>
          </a:p>
        </p:txBody>
      </p:sp>
      <p:sp>
        <p:nvSpPr>
          <p:cNvPr id="159" name="Espace réservé du texte 2">
            <a:extLst>
              <a:ext uri="{FF2B5EF4-FFF2-40B4-BE49-F238E27FC236}">
                <a16:creationId xmlns:a16="http://schemas.microsoft.com/office/drawing/2014/main" id="{B96362B2-94CA-FE60-958C-A1BCCED2D2CB}"/>
              </a:ext>
            </a:extLst>
          </p:cNvPr>
          <p:cNvSpPr>
            <a:spLocks noGrp="1"/>
          </p:cNvSpPr>
          <p:nvPr>
            <p:custDataLst>
              <p:tags r:id="rId23"/>
            </p:custDataLst>
          </p:nvPr>
        </p:nvSpPr>
        <p:spPr bwMode="auto">
          <a:xfrm>
            <a:off x="1219200" y="1998529"/>
            <a:ext cx="376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spcBef>
                <a:spcPct val="0"/>
              </a:spcBef>
              <a:spcAft>
                <a:spcPct val="0"/>
              </a:spcAft>
            </a:pPr>
            <a:r>
              <a:rPr lang="fr-FR" altLang="en-US" sz="1000" dirty="0" err="1">
                <a:latin typeface="+mn-lt"/>
              </a:rPr>
              <a:t>Forecast</a:t>
            </a:r>
            <a:endParaRPr lang="fr-FR" sz="1000" noProof="0" dirty="0">
              <a:latin typeface="+mn-lt"/>
            </a:endParaRPr>
          </a:p>
        </p:txBody>
      </p:sp>
      <p:sp>
        <p:nvSpPr>
          <p:cNvPr id="284" name="Oval 283">
            <a:extLst>
              <a:ext uri="{FF2B5EF4-FFF2-40B4-BE49-F238E27FC236}">
                <a16:creationId xmlns:a16="http://schemas.microsoft.com/office/drawing/2014/main" id="{B0C8BF7F-7CF8-37F2-3EC0-605531148CE3}"/>
              </a:ext>
            </a:extLst>
          </p:cNvPr>
          <p:cNvSpPr/>
          <p:nvPr/>
        </p:nvSpPr>
        <p:spPr>
          <a:xfrm>
            <a:off x="2987675" y="2820917"/>
            <a:ext cx="260350" cy="2603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ctr"/>
          <a:lstStyle/>
          <a:p>
            <a:pPr algn="ctr"/>
            <a:r>
              <a:rPr lang="fr-FR" dirty="0"/>
              <a:t>x</a:t>
            </a:r>
          </a:p>
        </p:txBody>
      </p:sp>
      <p:sp>
        <p:nvSpPr>
          <p:cNvPr id="285" name="Oval 284">
            <a:extLst>
              <a:ext uri="{FF2B5EF4-FFF2-40B4-BE49-F238E27FC236}">
                <a16:creationId xmlns:a16="http://schemas.microsoft.com/office/drawing/2014/main" id="{C8E391DB-87BF-7B7D-50BB-A8BE30F23152}"/>
              </a:ext>
            </a:extLst>
          </p:cNvPr>
          <p:cNvSpPr/>
          <p:nvPr/>
        </p:nvSpPr>
        <p:spPr>
          <a:xfrm>
            <a:off x="5845292" y="2820917"/>
            <a:ext cx="260350" cy="2603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ctr"/>
          <a:lstStyle/>
          <a:p>
            <a:pPr algn="ctr"/>
            <a:r>
              <a:rPr lang="fr-FR" dirty="0"/>
              <a:t>=</a:t>
            </a:r>
          </a:p>
        </p:txBody>
      </p:sp>
      <p:sp>
        <p:nvSpPr>
          <p:cNvPr id="832" name="Rectangle 831">
            <a:extLst>
              <a:ext uri="{FF2B5EF4-FFF2-40B4-BE49-F238E27FC236}">
                <a16:creationId xmlns:a16="http://schemas.microsoft.com/office/drawing/2014/main" id="{F9967C0B-5561-0CEA-9B0C-68B9BEC6AE92}"/>
              </a:ext>
            </a:extLst>
          </p:cNvPr>
          <p:cNvSpPr/>
          <p:nvPr>
            <p:custDataLst>
              <p:tags r:id="rId24"/>
            </p:custDataLst>
          </p:nvPr>
        </p:nvSpPr>
        <p:spPr bwMode="auto">
          <a:xfrm>
            <a:off x="4724400" y="1742942"/>
            <a:ext cx="125413" cy="93663"/>
          </a:xfrm>
          <a:prstGeom prst="rect">
            <a:avLst/>
          </a:prstGeom>
          <a:solidFill>
            <a:schemeClr val="accent3"/>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30" name="Rectangle 829">
            <a:extLst>
              <a:ext uri="{FF2B5EF4-FFF2-40B4-BE49-F238E27FC236}">
                <a16:creationId xmlns:a16="http://schemas.microsoft.com/office/drawing/2014/main" id="{C99558D8-3FAA-50F1-DC99-41E6F691268A}"/>
              </a:ext>
            </a:extLst>
          </p:cNvPr>
          <p:cNvSpPr/>
          <p:nvPr>
            <p:custDataLst>
              <p:tags r:id="rId25"/>
            </p:custDataLst>
          </p:nvPr>
        </p:nvSpPr>
        <p:spPr bwMode="auto">
          <a:xfrm>
            <a:off x="4292600" y="1742942"/>
            <a:ext cx="125413" cy="93663"/>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31" name="Rectangle 830">
            <a:extLst>
              <a:ext uri="{FF2B5EF4-FFF2-40B4-BE49-F238E27FC236}">
                <a16:creationId xmlns:a16="http://schemas.microsoft.com/office/drawing/2014/main" id="{4FEBE6FD-B93B-BF7E-6512-27F7738488C6}"/>
              </a:ext>
            </a:extLst>
          </p:cNvPr>
          <p:cNvSpPr/>
          <p:nvPr>
            <p:custDataLst>
              <p:tags r:id="rId26"/>
            </p:custDataLst>
          </p:nvPr>
        </p:nvSpPr>
        <p:spPr bwMode="auto">
          <a:xfrm>
            <a:off x="4292600" y="1900104"/>
            <a:ext cx="125413" cy="93663"/>
          </a:xfrm>
          <a:prstGeom prst="rect">
            <a:avLst/>
          </a:prstGeom>
          <a:solidFill>
            <a:schemeClr val="accent2"/>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8" name="Espace réservé du texte 2">
            <a:extLst>
              <a:ext uri="{FF2B5EF4-FFF2-40B4-BE49-F238E27FC236}">
                <a16:creationId xmlns:a16="http://schemas.microsoft.com/office/drawing/2014/main" id="{164898F5-BB84-D4CF-B990-084DBD34384C}"/>
              </a:ext>
            </a:extLst>
          </p:cNvPr>
          <p:cNvSpPr>
            <a:spLocks noGrp="1"/>
          </p:cNvSpPr>
          <p:nvPr>
            <p:custDataLst>
              <p:tags r:id="rId27"/>
            </p:custDataLst>
          </p:nvPr>
        </p:nvSpPr>
        <p:spPr bwMode="auto">
          <a:xfrm>
            <a:off x="4468813" y="1739767"/>
            <a:ext cx="93663"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spcBef>
                <a:spcPct val="0"/>
              </a:spcBef>
              <a:spcAft>
                <a:spcPct val="0"/>
              </a:spcAft>
            </a:pPr>
            <a:fld id="{90AA38E8-1DE3-468D-9DF3-967028FA797C}" type="datetime'''''V''''''''''''''''''E'''''''''''''''">
              <a:rPr lang="fr-FR" altLang="en-US" sz="700" smtClean="0">
                <a:latin typeface="+mn-lt"/>
              </a:rPr>
              <a:pPr marL="0">
                <a:spcBef>
                  <a:spcPct val="0"/>
                </a:spcBef>
                <a:spcAft>
                  <a:spcPct val="0"/>
                </a:spcAft>
              </a:pPr>
              <a:t>VE</a:t>
            </a:fld>
            <a:endParaRPr lang="fr-FR" sz="700" noProof="0" dirty="0">
              <a:latin typeface="+mn-lt"/>
            </a:endParaRPr>
          </a:p>
        </p:txBody>
      </p:sp>
      <p:sp>
        <p:nvSpPr>
          <p:cNvPr id="299" name="Espace réservé du texte 2">
            <a:extLst>
              <a:ext uri="{FF2B5EF4-FFF2-40B4-BE49-F238E27FC236}">
                <a16:creationId xmlns:a16="http://schemas.microsoft.com/office/drawing/2014/main" id="{0E89321D-D154-41C9-1E86-6B65D123C1C5}"/>
              </a:ext>
            </a:extLst>
          </p:cNvPr>
          <p:cNvSpPr>
            <a:spLocks noGrp="1"/>
          </p:cNvSpPr>
          <p:nvPr>
            <p:custDataLst>
              <p:tags r:id="rId28"/>
            </p:custDataLst>
          </p:nvPr>
        </p:nvSpPr>
        <p:spPr bwMode="auto">
          <a:xfrm>
            <a:off x="4468813" y="1896929"/>
            <a:ext cx="153988"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spcBef>
                <a:spcPct val="0"/>
              </a:spcBef>
              <a:spcAft>
                <a:spcPct val="0"/>
              </a:spcAft>
            </a:pPr>
            <a:r>
              <a:rPr lang="fr-FR" altLang="en-US" sz="700" dirty="0">
                <a:latin typeface="+mn-lt"/>
              </a:rPr>
              <a:t>PHEV</a:t>
            </a:r>
            <a:endParaRPr lang="fr-FR" sz="700" noProof="0" dirty="0">
              <a:latin typeface="+mn-lt"/>
            </a:endParaRPr>
          </a:p>
        </p:txBody>
      </p:sp>
      <p:sp>
        <p:nvSpPr>
          <p:cNvPr id="314" name="Espace réservé du texte 2">
            <a:extLst>
              <a:ext uri="{FF2B5EF4-FFF2-40B4-BE49-F238E27FC236}">
                <a16:creationId xmlns:a16="http://schemas.microsoft.com/office/drawing/2014/main" id="{2A159AB8-433D-0214-AFA8-5B66C2ADD963}"/>
              </a:ext>
            </a:extLst>
          </p:cNvPr>
          <p:cNvSpPr>
            <a:spLocks noGrp="1"/>
          </p:cNvSpPr>
          <p:nvPr>
            <p:custDataLst>
              <p:tags r:id="rId29"/>
            </p:custDataLst>
          </p:nvPr>
        </p:nvSpPr>
        <p:spPr bwMode="auto">
          <a:xfrm>
            <a:off x="4900613" y="1739767"/>
            <a:ext cx="2381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spcBef>
                <a:spcPct val="0"/>
              </a:spcBef>
              <a:spcAft>
                <a:spcPct val="0"/>
              </a:spcAft>
            </a:pPr>
            <a:r>
              <a:rPr lang="fr-FR" altLang="en-US" sz="700" dirty="0">
                <a:latin typeface="+mn-lt"/>
              </a:rPr>
              <a:t>ICE</a:t>
            </a:r>
            <a:endParaRPr lang="fr-FR" sz="700" noProof="0" dirty="0">
              <a:latin typeface="+mn-lt"/>
            </a:endParaRPr>
          </a:p>
        </p:txBody>
      </p:sp>
      <p:sp>
        <p:nvSpPr>
          <p:cNvPr id="90" name="TextBox 53">
            <a:extLst>
              <a:ext uri="{FF2B5EF4-FFF2-40B4-BE49-F238E27FC236}">
                <a16:creationId xmlns:a16="http://schemas.microsoft.com/office/drawing/2014/main" id="{615EEBD5-C0EB-A02A-DA3C-DE99B13E61E8}"/>
              </a:ext>
            </a:extLst>
          </p:cNvPr>
          <p:cNvSpPr txBox="1"/>
          <p:nvPr/>
        </p:nvSpPr>
        <p:spPr>
          <a:xfrm>
            <a:off x="735101" y="4516304"/>
            <a:ext cx="4706849"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Calibri" panose="020F0502020204030204"/>
                <a:ea typeface="+mn-ea"/>
                <a:cs typeface="+mn-cs"/>
              </a:rPr>
              <a:t>Source : DGEC</a:t>
            </a:r>
          </a:p>
        </p:txBody>
      </p:sp>
      <p:cxnSp>
        <p:nvCxnSpPr>
          <p:cNvPr id="77" name="Straight Connector 76">
            <a:extLst>
              <a:ext uri="{FF2B5EF4-FFF2-40B4-BE49-F238E27FC236}">
                <a16:creationId xmlns:a16="http://schemas.microsoft.com/office/drawing/2014/main" id="{63E9BE92-0BB6-507F-30BA-D4922AE7E23D}"/>
              </a:ext>
            </a:extLst>
          </p:cNvPr>
          <p:cNvCxnSpPr/>
          <p:nvPr>
            <p:custDataLst>
              <p:tags r:id="rId30"/>
            </p:custDataLst>
          </p:nvPr>
        </p:nvCxnSpPr>
        <p:spPr bwMode="auto">
          <a:xfrm>
            <a:off x="7858125" y="4151179"/>
            <a:ext cx="0" cy="4286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4" name="Straight Connector 73">
            <a:extLst>
              <a:ext uri="{FF2B5EF4-FFF2-40B4-BE49-F238E27FC236}">
                <a16:creationId xmlns:a16="http://schemas.microsoft.com/office/drawing/2014/main" id="{A46BFB66-C34F-5D60-CACD-18FD612F05FF}"/>
              </a:ext>
            </a:extLst>
          </p:cNvPr>
          <p:cNvCxnSpPr/>
          <p:nvPr>
            <p:custDataLst>
              <p:tags r:id="rId31"/>
            </p:custDataLst>
          </p:nvPr>
        </p:nvCxnSpPr>
        <p:spPr bwMode="auto">
          <a:xfrm>
            <a:off x="6616700" y="4151179"/>
            <a:ext cx="0" cy="4286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EDD683D1-6BEC-BA76-529B-17784BA99961}"/>
              </a:ext>
            </a:extLst>
          </p:cNvPr>
          <p:cNvCxnSpPr/>
          <p:nvPr>
            <p:custDataLst>
              <p:tags r:id="rId32"/>
            </p:custDataLst>
          </p:nvPr>
        </p:nvCxnSpPr>
        <p:spPr bwMode="auto">
          <a:xfrm>
            <a:off x="7445375" y="4151179"/>
            <a:ext cx="0" cy="4286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07D2B4C7-AA8B-4C61-E251-813A24768049}"/>
              </a:ext>
            </a:extLst>
          </p:cNvPr>
          <p:cNvCxnSpPr/>
          <p:nvPr>
            <p:custDataLst>
              <p:tags r:id="rId33"/>
            </p:custDataLst>
          </p:nvPr>
        </p:nvCxnSpPr>
        <p:spPr bwMode="auto">
          <a:xfrm>
            <a:off x="8686800" y="4151179"/>
            <a:ext cx="0" cy="4286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3CD7BBDC-6C68-265B-9E6B-82F4A16AEC97}"/>
              </a:ext>
            </a:extLst>
          </p:cNvPr>
          <p:cNvCxnSpPr/>
          <p:nvPr>
            <p:custDataLst>
              <p:tags r:id="rId34"/>
            </p:custDataLst>
          </p:nvPr>
        </p:nvCxnSpPr>
        <p:spPr bwMode="auto">
          <a:xfrm>
            <a:off x="7031038" y="4151179"/>
            <a:ext cx="0" cy="4286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C60A56DA-02C7-29AD-E8AB-05236B87195F}"/>
              </a:ext>
            </a:extLst>
          </p:cNvPr>
          <p:cNvCxnSpPr/>
          <p:nvPr>
            <p:custDataLst>
              <p:tags r:id="rId35"/>
            </p:custDataLst>
          </p:nvPr>
        </p:nvCxnSpPr>
        <p:spPr bwMode="auto">
          <a:xfrm>
            <a:off x="8272463" y="4151179"/>
            <a:ext cx="0" cy="42862"/>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8" name="Chart 87">
            <a:extLst>
              <a:ext uri="{FF2B5EF4-FFF2-40B4-BE49-F238E27FC236}">
                <a16:creationId xmlns:a16="http://schemas.microsoft.com/office/drawing/2014/main" id="{5E8633BF-5469-43B8-0250-9F3E7108E177}"/>
              </a:ext>
            </a:extLst>
          </p:cNvPr>
          <p:cNvGraphicFramePr/>
          <p:nvPr>
            <p:custDataLst>
              <p:tags r:id="rId36"/>
            </p:custDataLst>
          </p:nvPr>
        </p:nvGraphicFramePr>
        <p:xfrm>
          <a:off x="6190025" y="1749291"/>
          <a:ext cx="2593975" cy="2500313"/>
        </p:xfrm>
        <a:graphic>
          <a:graphicData uri="http://schemas.openxmlformats.org/drawingml/2006/chart">
            <c:chart xmlns:c="http://schemas.openxmlformats.org/drawingml/2006/chart" xmlns:r="http://schemas.openxmlformats.org/officeDocument/2006/relationships" r:id="rId97"/>
          </a:graphicData>
        </a:graphic>
      </p:graphicFrame>
      <p:sp>
        <p:nvSpPr>
          <p:cNvPr id="70" name="Espace réservé du texte 2">
            <a:extLst>
              <a:ext uri="{FF2B5EF4-FFF2-40B4-BE49-F238E27FC236}">
                <a16:creationId xmlns:a16="http://schemas.microsoft.com/office/drawing/2014/main" id="{6B9353F1-24E8-218F-C989-AC58460EA4F0}"/>
              </a:ext>
            </a:extLst>
          </p:cNvPr>
          <p:cNvSpPr>
            <a:spLocks noGrp="1"/>
          </p:cNvSpPr>
          <p:nvPr>
            <p:custDataLst>
              <p:tags r:id="rId37"/>
            </p:custDataLst>
          </p:nvPr>
        </p:nvSpPr>
        <p:spPr bwMode="gray">
          <a:xfrm>
            <a:off x="7315200" y="4236904"/>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2DCFBC11-B706-4383-8813-BB943F52B581}" type="datetime'''2''''''''''''''''''''''''''0''2''''''''''''5'">
              <a:rPr lang="fr-FR" altLang="en-US" sz="1000" smtClean="0">
                <a:effectLst/>
                <a:latin typeface="+mn-lt"/>
              </a:rPr>
              <a:pPr marL="0" algn="ctr">
                <a:spcBef>
                  <a:spcPct val="0"/>
                </a:spcBef>
                <a:spcAft>
                  <a:spcPct val="0"/>
                </a:spcAft>
              </a:pPr>
              <a:t>2025</a:t>
            </a:fld>
            <a:endParaRPr lang="fr-FR" sz="1000" noProof="0" dirty="0">
              <a:latin typeface="+mn-lt"/>
            </a:endParaRPr>
          </a:p>
        </p:txBody>
      </p:sp>
      <p:sp>
        <p:nvSpPr>
          <p:cNvPr id="68" name="Espace réservé du texte 2">
            <a:extLst>
              <a:ext uri="{FF2B5EF4-FFF2-40B4-BE49-F238E27FC236}">
                <a16:creationId xmlns:a16="http://schemas.microsoft.com/office/drawing/2014/main" id="{DDFD64B6-D6E7-A485-C29F-942C4FA674F0}"/>
              </a:ext>
            </a:extLst>
          </p:cNvPr>
          <p:cNvSpPr>
            <a:spLocks noGrp="1"/>
          </p:cNvSpPr>
          <p:nvPr>
            <p:custDataLst>
              <p:tags r:id="rId38"/>
            </p:custDataLst>
          </p:nvPr>
        </p:nvSpPr>
        <p:spPr bwMode="gray">
          <a:xfrm>
            <a:off x="6486525" y="4236904"/>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024B8207-1B01-4BC2-8AD0-95F46531A1CF}" type="datetime'''''2''''''0''''''''''''''''''''1''5'">
              <a:rPr lang="fr-FR" altLang="en-US" sz="1000" smtClean="0">
                <a:effectLst/>
                <a:latin typeface="+mn-lt"/>
              </a:rPr>
              <a:pPr marL="0" algn="ctr">
                <a:spcBef>
                  <a:spcPct val="0"/>
                </a:spcBef>
                <a:spcAft>
                  <a:spcPct val="0"/>
                </a:spcAft>
              </a:pPr>
              <a:t>2015</a:t>
            </a:fld>
            <a:endParaRPr lang="fr-FR" sz="1000" noProof="0" dirty="0">
              <a:latin typeface="+mn-lt"/>
            </a:endParaRPr>
          </a:p>
        </p:txBody>
      </p:sp>
      <p:sp>
        <p:nvSpPr>
          <p:cNvPr id="69" name="Espace réservé du texte 2">
            <a:extLst>
              <a:ext uri="{FF2B5EF4-FFF2-40B4-BE49-F238E27FC236}">
                <a16:creationId xmlns:a16="http://schemas.microsoft.com/office/drawing/2014/main" id="{95C6D2E0-05D2-290D-722B-BB81950E17A1}"/>
              </a:ext>
            </a:extLst>
          </p:cNvPr>
          <p:cNvSpPr>
            <a:spLocks noGrp="1"/>
          </p:cNvSpPr>
          <p:nvPr>
            <p:custDataLst>
              <p:tags r:id="rId39"/>
            </p:custDataLst>
          </p:nvPr>
        </p:nvSpPr>
        <p:spPr bwMode="gray">
          <a:xfrm>
            <a:off x="6900863" y="4236904"/>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BF5D3041-BB9D-4224-9C9A-2FA7E183DE16}" type="datetime'''''''''2''''0''''''''''''2''''''''0'''''''''''''">
              <a:rPr lang="fr-FR" altLang="en-US" sz="1000" smtClean="0">
                <a:effectLst/>
                <a:latin typeface="+mn-lt"/>
              </a:rPr>
              <a:pPr marL="0" algn="ctr">
                <a:spcBef>
                  <a:spcPct val="0"/>
                </a:spcBef>
                <a:spcAft>
                  <a:spcPct val="0"/>
                </a:spcAft>
              </a:pPr>
              <a:t>2020</a:t>
            </a:fld>
            <a:endParaRPr lang="fr-FR" sz="1000" noProof="0" dirty="0">
              <a:latin typeface="+mn-lt"/>
            </a:endParaRPr>
          </a:p>
        </p:txBody>
      </p:sp>
      <p:sp>
        <p:nvSpPr>
          <p:cNvPr id="72" name="Espace réservé du texte 2">
            <a:extLst>
              <a:ext uri="{FF2B5EF4-FFF2-40B4-BE49-F238E27FC236}">
                <a16:creationId xmlns:a16="http://schemas.microsoft.com/office/drawing/2014/main" id="{A768025D-9BAC-5D8A-4703-C6971424C867}"/>
              </a:ext>
            </a:extLst>
          </p:cNvPr>
          <p:cNvSpPr>
            <a:spLocks noGrp="1"/>
          </p:cNvSpPr>
          <p:nvPr>
            <p:custDataLst>
              <p:tags r:id="rId40"/>
            </p:custDataLst>
          </p:nvPr>
        </p:nvSpPr>
        <p:spPr bwMode="gray">
          <a:xfrm>
            <a:off x="8142288" y="4236904"/>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9D55ABFE-E865-438F-A09B-44F949AD33A3}" type="datetime'''''''''''''''''''''''''''''2''0''''35'''">
              <a:rPr lang="fr-FR" altLang="en-US" sz="1000" smtClean="0">
                <a:effectLst/>
                <a:latin typeface="+mn-lt"/>
              </a:rPr>
              <a:pPr marL="0" algn="ctr">
                <a:spcBef>
                  <a:spcPct val="0"/>
                </a:spcBef>
                <a:spcAft>
                  <a:spcPct val="0"/>
                </a:spcAft>
              </a:pPr>
              <a:t>2035</a:t>
            </a:fld>
            <a:endParaRPr lang="fr-FR" sz="1000" noProof="0" dirty="0">
              <a:latin typeface="+mn-lt"/>
            </a:endParaRPr>
          </a:p>
        </p:txBody>
      </p:sp>
      <p:sp>
        <p:nvSpPr>
          <p:cNvPr id="71" name="Espace réservé du texte 2">
            <a:extLst>
              <a:ext uri="{FF2B5EF4-FFF2-40B4-BE49-F238E27FC236}">
                <a16:creationId xmlns:a16="http://schemas.microsoft.com/office/drawing/2014/main" id="{7AE07CB3-EE17-B2E0-7191-881E263C1DA6}"/>
              </a:ext>
            </a:extLst>
          </p:cNvPr>
          <p:cNvSpPr>
            <a:spLocks noGrp="1"/>
          </p:cNvSpPr>
          <p:nvPr>
            <p:custDataLst>
              <p:tags r:id="rId41"/>
            </p:custDataLst>
          </p:nvPr>
        </p:nvSpPr>
        <p:spPr bwMode="gray">
          <a:xfrm>
            <a:off x="7727950" y="4236904"/>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E993B585-40E5-4CD6-9F2E-A24795AC867E}" type="datetime'''''2''''''''''''''0''''3''''''''''''''''''''''''0'''''''''''">
              <a:rPr lang="fr-FR" altLang="en-US" sz="1000" smtClean="0">
                <a:effectLst/>
                <a:latin typeface="+mn-lt"/>
              </a:rPr>
              <a:pPr marL="0" algn="ctr">
                <a:spcBef>
                  <a:spcPct val="0"/>
                </a:spcBef>
                <a:spcAft>
                  <a:spcPct val="0"/>
                </a:spcAft>
              </a:pPr>
              <a:t>2030</a:t>
            </a:fld>
            <a:endParaRPr lang="fr-FR" sz="1000" noProof="0" dirty="0">
              <a:latin typeface="+mn-lt"/>
            </a:endParaRPr>
          </a:p>
        </p:txBody>
      </p:sp>
      <p:sp>
        <p:nvSpPr>
          <p:cNvPr id="73" name="Espace réservé du texte 2">
            <a:extLst>
              <a:ext uri="{FF2B5EF4-FFF2-40B4-BE49-F238E27FC236}">
                <a16:creationId xmlns:a16="http://schemas.microsoft.com/office/drawing/2014/main" id="{3293CC84-82D4-507E-1F60-79267E27D4DF}"/>
              </a:ext>
            </a:extLst>
          </p:cNvPr>
          <p:cNvSpPr>
            <a:spLocks noGrp="1"/>
          </p:cNvSpPr>
          <p:nvPr>
            <p:custDataLst>
              <p:tags r:id="rId42"/>
            </p:custDataLst>
          </p:nvPr>
        </p:nvSpPr>
        <p:spPr bwMode="gray">
          <a:xfrm>
            <a:off x="8556625" y="4236904"/>
            <a:ext cx="260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F0F3C510-30E0-41C1-89CE-C3295554BD93}" type="datetime'''2''''''''''''''''''''''0''''''''''''''''''''4''''''''''0'''">
              <a:rPr lang="fr-FR" altLang="en-US" sz="1000" smtClean="0">
                <a:effectLst/>
                <a:latin typeface="+mn-lt"/>
              </a:rPr>
              <a:pPr marL="0" algn="ctr">
                <a:spcBef>
                  <a:spcPct val="0"/>
                </a:spcBef>
                <a:spcAft>
                  <a:spcPct val="0"/>
                </a:spcAft>
              </a:pPr>
              <a:t>2040</a:t>
            </a:fld>
            <a:endParaRPr lang="fr-FR" sz="1000" noProof="0" dirty="0">
              <a:latin typeface="+mn-lt"/>
            </a:endParaRPr>
          </a:p>
        </p:txBody>
      </p:sp>
      <p:sp>
        <p:nvSpPr>
          <p:cNvPr id="22" name="Espace réservé du texte 2">
            <a:extLst>
              <a:ext uri="{FF2B5EF4-FFF2-40B4-BE49-F238E27FC236}">
                <a16:creationId xmlns:a16="http://schemas.microsoft.com/office/drawing/2014/main" id="{29804344-1A88-DE49-3786-C0105308EB2F}"/>
              </a:ext>
            </a:extLst>
          </p:cNvPr>
          <p:cNvSpPr>
            <a:spLocks noGrp="1"/>
          </p:cNvSpPr>
          <p:nvPr>
            <p:custDataLst>
              <p:tags r:id="rId43"/>
            </p:custDataLst>
          </p:nvPr>
        </p:nvSpPr>
        <p:spPr bwMode="gray">
          <a:xfrm>
            <a:off x="6648450" y="3943216"/>
            <a:ext cx="2873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D647015B-857C-4C4F-B07D-6B4AB6ABCF6B}" type="datetime'''''''''''''0'',''''''''''''''1''''''''%'''''''''">
              <a:rPr lang="fr-FR" altLang="en-US" sz="1000" smtClean="0">
                <a:latin typeface="+mn-lt"/>
              </a:rPr>
              <a:pPr/>
              <a:t>0,1%</a:t>
            </a:fld>
            <a:endParaRPr lang="fr-FR" sz="1000" noProof="0" dirty="0">
              <a:latin typeface="+mn-lt"/>
            </a:endParaRPr>
          </a:p>
        </p:txBody>
      </p:sp>
      <p:sp>
        <p:nvSpPr>
          <p:cNvPr id="21" name="Espace réservé du texte 2">
            <a:extLst>
              <a:ext uri="{FF2B5EF4-FFF2-40B4-BE49-F238E27FC236}">
                <a16:creationId xmlns:a16="http://schemas.microsoft.com/office/drawing/2014/main" id="{8F754148-CB66-3A9C-6B55-CABF3657BE4D}"/>
              </a:ext>
            </a:extLst>
          </p:cNvPr>
          <p:cNvSpPr>
            <a:spLocks noGrp="1"/>
          </p:cNvSpPr>
          <p:nvPr>
            <p:custDataLst>
              <p:tags r:id="rId44"/>
            </p:custDataLst>
          </p:nvPr>
        </p:nvSpPr>
        <p:spPr bwMode="gray">
          <a:xfrm>
            <a:off x="7053263" y="3897179"/>
            <a:ext cx="287338"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44B45301-F700-4741-A41B-28584494D2E1}" type="datetime'''''''''''1'''''',''''''''''2''''''%'''''''''''''">
              <a:rPr lang="fr-FR" altLang="en-US" sz="1000" smtClean="0">
                <a:effectLst/>
                <a:latin typeface="+mn-lt"/>
              </a:rPr>
              <a:pPr/>
              <a:t>1,2%</a:t>
            </a:fld>
            <a:endParaRPr lang="fr-FR" sz="1000" noProof="0" dirty="0">
              <a:latin typeface="+mn-lt"/>
            </a:endParaRPr>
          </a:p>
        </p:txBody>
      </p:sp>
      <p:cxnSp>
        <p:nvCxnSpPr>
          <p:cNvPr id="23" name="Straight Connector 22">
            <a:extLst>
              <a:ext uri="{FF2B5EF4-FFF2-40B4-BE49-F238E27FC236}">
                <a16:creationId xmlns:a16="http://schemas.microsoft.com/office/drawing/2014/main" id="{6758AC16-ACB2-06D0-25A4-54F78FC9512D}"/>
              </a:ext>
            </a:extLst>
          </p:cNvPr>
          <p:cNvCxnSpPr/>
          <p:nvPr>
            <p:custDataLst>
              <p:tags r:id="rId45"/>
            </p:custDataLst>
          </p:nvPr>
        </p:nvCxnSpPr>
        <p:spPr bwMode="gray">
          <a:xfrm>
            <a:off x="6744953" y="2091263"/>
            <a:ext cx="160338" cy="0"/>
          </a:xfrm>
          <a:prstGeom prst="line">
            <a:avLst/>
          </a:prstGeom>
          <a:ln w="19050"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2D593F4A-6CAE-D9D4-E423-E41EF9FC106F}"/>
              </a:ext>
            </a:extLst>
          </p:cNvPr>
          <p:cNvCxnSpPr/>
          <p:nvPr>
            <p:custDataLst>
              <p:tags r:id="rId46"/>
            </p:custDataLst>
          </p:nvPr>
        </p:nvCxnSpPr>
        <p:spPr bwMode="gray">
          <a:xfrm>
            <a:off x="6744953" y="1888063"/>
            <a:ext cx="160338" cy="0"/>
          </a:xfrm>
          <a:prstGeom prst="line">
            <a:avLst/>
          </a:prstGeom>
          <a:ln w="1905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6" name="Espace réservé du texte 2">
            <a:extLst>
              <a:ext uri="{FF2B5EF4-FFF2-40B4-BE49-F238E27FC236}">
                <a16:creationId xmlns:a16="http://schemas.microsoft.com/office/drawing/2014/main" id="{462868CF-51A4-0415-BF7E-A865AD8A0B7C}"/>
              </a:ext>
            </a:extLst>
          </p:cNvPr>
          <p:cNvSpPr>
            <a:spLocks noGrp="1"/>
          </p:cNvSpPr>
          <p:nvPr>
            <p:custDataLst>
              <p:tags r:id="rId47"/>
            </p:custDataLst>
          </p:nvPr>
        </p:nvSpPr>
        <p:spPr bwMode="auto">
          <a:xfrm>
            <a:off x="6965616" y="2019826"/>
            <a:ext cx="37623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spcBef>
                <a:spcPct val="0"/>
              </a:spcBef>
              <a:spcAft>
                <a:spcPct val="0"/>
              </a:spcAft>
            </a:pPr>
            <a:r>
              <a:rPr lang="fr-FR" altLang="en-US" sz="1000" dirty="0" err="1">
                <a:latin typeface="+mn-lt"/>
              </a:rPr>
              <a:t>Forecast</a:t>
            </a:r>
            <a:endParaRPr lang="fr-FR" sz="1000" noProof="0" dirty="0">
              <a:latin typeface="+mn-lt"/>
            </a:endParaRPr>
          </a:p>
        </p:txBody>
      </p:sp>
      <p:sp>
        <p:nvSpPr>
          <p:cNvPr id="25" name="Espace réservé du texte 2">
            <a:extLst>
              <a:ext uri="{FF2B5EF4-FFF2-40B4-BE49-F238E27FC236}">
                <a16:creationId xmlns:a16="http://schemas.microsoft.com/office/drawing/2014/main" id="{BDAD0628-9219-5706-F087-37ECF903F60A}"/>
              </a:ext>
            </a:extLst>
          </p:cNvPr>
          <p:cNvSpPr>
            <a:spLocks noGrp="1"/>
          </p:cNvSpPr>
          <p:nvPr>
            <p:custDataLst>
              <p:tags r:id="rId48"/>
            </p:custDataLst>
          </p:nvPr>
        </p:nvSpPr>
        <p:spPr bwMode="auto">
          <a:xfrm>
            <a:off x="6965616" y="1816626"/>
            <a:ext cx="428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spcBef>
                <a:spcPct val="0"/>
              </a:spcBef>
              <a:spcAft>
                <a:spcPct val="0"/>
              </a:spcAft>
            </a:pPr>
            <a:r>
              <a:rPr lang="fr-FR" altLang="en-US" sz="1000" dirty="0">
                <a:latin typeface="+mn-lt"/>
              </a:rPr>
              <a:t>Historic</a:t>
            </a:r>
            <a:endParaRPr lang="fr-FR" sz="1000" noProof="0" dirty="0">
              <a:latin typeface="+mn-lt"/>
            </a:endParaRPr>
          </a:p>
        </p:txBody>
      </p:sp>
      <p:graphicFrame>
        <p:nvGraphicFramePr>
          <p:cNvPr id="111" name="Chart 110">
            <a:extLst>
              <a:ext uri="{FF2B5EF4-FFF2-40B4-BE49-F238E27FC236}">
                <a16:creationId xmlns:a16="http://schemas.microsoft.com/office/drawing/2014/main" id="{391AA35B-880C-17C9-5E43-F332A50ADC25}"/>
              </a:ext>
            </a:extLst>
          </p:cNvPr>
          <p:cNvGraphicFramePr/>
          <p:nvPr>
            <p:custDataLst>
              <p:tags r:id="rId49"/>
            </p:custDataLst>
          </p:nvPr>
        </p:nvGraphicFramePr>
        <p:xfrm>
          <a:off x="3165475" y="1962016"/>
          <a:ext cx="2713038" cy="2271713"/>
        </p:xfrm>
        <a:graphic>
          <a:graphicData uri="http://schemas.openxmlformats.org/drawingml/2006/chart">
            <c:chart xmlns:c="http://schemas.openxmlformats.org/drawingml/2006/chart" xmlns:r="http://schemas.openxmlformats.org/officeDocument/2006/relationships" r:id="rId98"/>
          </a:graphicData>
        </a:graphic>
      </p:graphicFrame>
      <p:cxnSp>
        <p:nvCxnSpPr>
          <p:cNvPr id="91" name="Straight Connector 110">
            <a:extLst>
              <a:ext uri="{FF2B5EF4-FFF2-40B4-BE49-F238E27FC236}">
                <a16:creationId xmlns:a16="http://schemas.microsoft.com/office/drawing/2014/main" id="{1073EA86-7334-8CE0-A9E7-38BB52447E60}"/>
              </a:ext>
            </a:extLst>
          </p:cNvPr>
          <p:cNvCxnSpPr/>
          <p:nvPr>
            <p:custDataLst>
              <p:tags r:id="rId50"/>
            </p:custDataLst>
          </p:nvPr>
        </p:nvCxnSpPr>
        <p:spPr bwMode="auto">
          <a:xfrm>
            <a:off x="3602038" y="2549391"/>
            <a:ext cx="0" cy="777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3" name="Espace réservé du texte 2">
            <a:extLst>
              <a:ext uri="{FF2B5EF4-FFF2-40B4-BE49-F238E27FC236}">
                <a16:creationId xmlns:a16="http://schemas.microsoft.com/office/drawing/2014/main" id="{2E0A53FC-4D40-80CE-0136-562D7420833B}"/>
              </a:ext>
            </a:extLst>
          </p:cNvPr>
          <p:cNvSpPr>
            <a:spLocks noGrp="1"/>
          </p:cNvSpPr>
          <p:nvPr>
            <p:custDataLst>
              <p:tags r:id="rId51"/>
            </p:custDataLst>
          </p:nvPr>
        </p:nvSpPr>
        <p:spPr bwMode="gray">
          <a:xfrm>
            <a:off x="3957638" y="2665279"/>
            <a:ext cx="136525" cy="106363"/>
          </a:xfrm>
          <a:prstGeom prst="rect">
            <a:avLst/>
          </a:prstGeom>
          <a:solidFill>
            <a:schemeClr val="accent1"/>
          </a:solidFill>
          <a:ln>
            <a:noFill/>
          </a:ln>
          <a:effectLst/>
        </p:spPr>
        <p:txBody>
          <a:bodyPr vert="horz" wrap="none" lIns="12700" tIns="0" rIns="1270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F40B555F-C7CC-4B1F-8DD6-5558296B877D}" type="datetime'0'',''''''''''''''''''''''''3'''''''''''''''''''''">
              <a:rPr lang="fr-FR" altLang="en-US" sz="700" smtClean="0">
                <a:solidFill>
                  <a:schemeClr val="bg1"/>
                </a:solidFill>
                <a:effectLst/>
                <a:latin typeface="+mn-lt"/>
              </a:rPr>
              <a:pPr marL="0" algn="ctr">
                <a:spcBef>
                  <a:spcPct val="0"/>
                </a:spcBef>
                <a:spcAft>
                  <a:spcPct val="0"/>
                </a:spcAft>
              </a:pPr>
              <a:t>0,3</a:t>
            </a:fld>
            <a:endParaRPr lang="fr-FR" sz="700" noProof="0" dirty="0">
              <a:solidFill>
                <a:schemeClr val="bg1"/>
              </a:solidFill>
              <a:latin typeface="+mn-lt"/>
            </a:endParaRPr>
          </a:p>
        </p:txBody>
      </p:sp>
      <p:sp>
        <p:nvSpPr>
          <p:cNvPr id="92" name="Espace réservé du texte 2">
            <a:extLst>
              <a:ext uri="{FF2B5EF4-FFF2-40B4-BE49-F238E27FC236}">
                <a16:creationId xmlns:a16="http://schemas.microsoft.com/office/drawing/2014/main" id="{0FC5FCE4-8255-C3F7-93A8-7136DDDCC878}"/>
              </a:ext>
            </a:extLst>
          </p:cNvPr>
          <p:cNvSpPr>
            <a:spLocks noGrp="1"/>
          </p:cNvSpPr>
          <p:nvPr>
            <p:custDataLst>
              <p:tags r:id="rId52"/>
            </p:custDataLst>
          </p:nvPr>
        </p:nvSpPr>
        <p:spPr bwMode="gray">
          <a:xfrm>
            <a:off x="3816350" y="2725604"/>
            <a:ext cx="136525" cy="106363"/>
          </a:xfrm>
          <a:prstGeom prst="rect">
            <a:avLst/>
          </a:prstGeom>
          <a:solidFill>
            <a:schemeClr val="accent1"/>
          </a:solidFill>
          <a:ln>
            <a:noFill/>
          </a:ln>
          <a:effectLst/>
        </p:spPr>
        <p:txBody>
          <a:bodyPr vert="horz" wrap="none" lIns="12700" tIns="0" rIns="1270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D7503774-F04A-48E3-8DF2-6336A2A87501}" type="datetime'''''''''''''''''''''''''''''0,''''''''''''''''''''2'''">
              <a:rPr lang="fr-FR" altLang="en-US" sz="700" smtClean="0">
                <a:solidFill>
                  <a:schemeClr val="bg1"/>
                </a:solidFill>
                <a:effectLst/>
                <a:latin typeface="+mn-lt"/>
              </a:rPr>
              <a:pPr marL="0" algn="ctr">
                <a:spcBef>
                  <a:spcPct val="0"/>
                </a:spcBef>
                <a:spcAft>
                  <a:spcPct val="0"/>
                </a:spcAft>
              </a:pPr>
              <a:t>0,2</a:t>
            </a:fld>
            <a:endParaRPr lang="fr-FR" sz="700" noProof="0" dirty="0">
              <a:solidFill>
                <a:schemeClr val="bg1"/>
              </a:solidFill>
              <a:latin typeface="+mn-lt"/>
            </a:endParaRPr>
          </a:p>
        </p:txBody>
      </p:sp>
      <p:sp>
        <p:nvSpPr>
          <p:cNvPr id="43" name="Espace réservé du texte 2">
            <a:extLst>
              <a:ext uri="{FF2B5EF4-FFF2-40B4-BE49-F238E27FC236}">
                <a16:creationId xmlns:a16="http://schemas.microsoft.com/office/drawing/2014/main" id="{E3A55C29-42DE-B173-162B-2C2E80EDD69B}"/>
              </a:ext>
            </a:extLst>
          </p:cNvPr>
          <p:cNvSpPr>
            <a:spLocks noGrp="1"/>
          </p:cNvSpPr>
          <p:nvPr>
            <p:custDataLst>
              <p:tags r:id="rId53"/>
            </p:custDataLst>
          </p:nvPr>
        </p:nvSpPr>
        <p:spPr bwMode="gray">
          <a:xfrm>
            <a:off x="5656263" y="3259004"/>
            <a:ext cx="136525" cy="106363"/>
          </a:xfrm>
          <a:prstGeom prst="rect">
            <a:avLst/>
          </a:prstGeom>
          <a:solidFill>
            <a:schemeClr val="accent1"/>
          </a:solidFill>
          <a:ln>
            <a:noFill/>
          </a:ln>
          <a:effectLst/>
        </p:spPr>
        <p:txBody>
          <a:bodyPr vert="horz" wrap="none" lIns="12700" tIns="0" rIns="1270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F8D6812F-5317-4EA3-81FA-58CAA3B3C492}" type="datetime'''''''''''''''''''''''''''1'''',8'''''''''''''''''''">
              <a:rPr lang="fr-FR" altLang="en-US" sz="700" smtClean="0">
                <a:solidFill>
                  <a:schemeClr val="bg1"/>
                </a:solidFill>
                <a:effectLst/>
                <a:latin typeface="+mn-lt"/>
              </a:rPr>
              <a:pPr/>
              <a:t>1,8</a:t>
            </a:fld>
            <a:endParaRPr lang="fr-FR" sz="700" noProof="0" dirty="0">
              <a:solidFill>
                <a:schemeClr val="bg1"/>
              </a:solidFill>
              <a:latin typeface="+mn-lt"/>
            </a:endParaRPr>
          </a:p>
        </p:txBody>
      </p:sp>
      <p:sp>
        <p:nvSpPr>
          <p:cNvPr id="33" name="Espace réservé du texte 2">
            <a:extLst>
              <a:ext uri="{FF2B5EF4-FFF2-40B4-BE49-F238E27FC236}">
                <a16:creationId xmlns:a16="http://schemas.microsoft.com/office/drawing/2014/main" id="{115F5D52-B009-DDF6-0752-FA63BC8039F3}"/>
              </a:ext>
            </a:extLst>
          </p:cNvPr>
          <p:cNvSpPr>
            <a:spLocks noGrp="1"/>
          </p:cNvSpPr>
          <p:nvPr>
            <p:custDataLst>
              <p:tags r:id="rId54"/>
            </p:custDataLst>
          </p:nvPr>
        </p:nvSpPr>
        <p:spPr bwMode="gray">
          <a:xfrm>
            <a:off x="4948238" y="2973254"/>
            <a:ext cx="136525" cy="106363"/>
          </a:xfrm>
          <a:prstGeom prst="rect">
            <a:avLst/>
          </a:prstGeom>
          <a:solidFill>
            <a:schemeClr val="accent1"/>
          </a:solidFill>
          <a:ln>
            <a:noFill/>
          </a:ln>
          <a:effectLst/>
        </p:spPr>
        <p:txBody>
          <a:bodyPr vert="horz" wrap="none" lIns="12700" tIns="0" rIns="1270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47DF78AB-30B2-4881-B204-3E949C04E1E2}" type="datetime'''''''''''''''''1'',''''''''''''''''''''''''''''''''''''''2'''">
              <a:rPr lang="fr-FR" altLang="en-US" sz="700" smtClean="0">
                <a:solidFill>
                  <a:schemeClr val="bg1"/>
                </a:solidFill>
                <a:effectLst/>
                <a:latin typeface="+mn-lt"/>
              </a:rPr>
              <a:pPr/>
              <a:t>1,2</a:t>
            </a:fld>
            <a:endParaRPr lang="fr-FR" sz="700" noProof="0" dirty="0">
              <a:solidFill>
                <a:schemeClr val="bg1"/>
              </a:solidFill>
              <a:latin typeface="+mn-lt"/>
            </a:endParaRPr>
          </a:p>
        </p:txBody>
      </p:sp>
      <p:sp>
        <p:nvSpPr>
          <p:cNvPr id="105" name="Espace réservé du texte 2">
            <a:extLst>
              <a:ext uri="{FF2B5EF4-FFF2-40B4-BE49-F238E27FC236}">
                <a16:creationId xmlns:a16="http://schemas.microsoft.com/office/drawing/2014/main" id="{644D72EB-5FF6-1166-B88E-707DA75DA4F1}"/>
              </a:ext>
            </a:extLst>
          </p:cNvPr>
          <p:cNvSpPr>
            <a:spLocks noGrp="1"/>
          </p:cNvSpPr>
          <p:nvPr>
            <p:custDataLst>
              <p:tags r:id="rId55"/>
            </p:custDataLst>
          </p:nvPr>
        </p:nvSpPr>
        <p:spPr bwMode="auto">
          <a:xfrm>
            <a:off x="3930650" y="4181342"/>
            <a:ext cx="1905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6155AD7C-E659-44C1-AB25-53CB2000B383}" type="datetime'2''''''''0''''''2''''''''''''''''''''3'''''''''''''''''''''">
              <a:rPr lang="fr-FR" altLang="en-US" sz="700" smtClean="0">
                <a:latin typeface="+mn-lt"/>
              </a:rPr>
              <a:pPr/>
              <a:t>2023</a:t>
            </a:fld>
            <a:endParaRPr lang="fr-FR" sz="700" noProof="0" dirty="0">
              <a:latin typeface="+mn-lt"/>
            </a:endParaRPr>
          </a:p>
        </p:txBody>
      </p:sp>
      <p:sp>
        <p:nvSpPr>
          <p:cNvPr id="118" name="Espace réservé du texte 2">
            <a:extLst>
              <a:ext uri="{FF2B5EF4-FFF2-40B4-BE49-F238E27FC236}">
                <a16:creationId xmlns:a16="http://schemas.microsoft.com/office/drawing/2014/main" id="{CC020C9C-F67A-EABE-10F0-2B7895F39027}"/>
              </a:ext>
            </a:extLst>
          </p:cNvPr>
          <p:cNvSpPr>
            <a:spLocks noGrp="1"/>
          </p:cNvSpPr>
          <p:nvPr>
            <p:custDataLst>
              <p:tags r:id="rId56"/>
            </p:custDataLst>
          </p:nvPr>
        </p:nvSpPr>
        <p:spPr bwMode="gray">
          <a:xfrm>
            <a:off x="3533775" y="2336666"/>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1B505D21-5E51-4493-9886-7D310905AE77}" type="datetime'''''''''''''''''''''''''''1'''''''',7'''''''''''''''">
              <a:rPr lang="fr-FR" altLang="en-US" sz="700" smtClean="0">
                <a:latin typeface="+mn-lt"/>
              </a:rPr>
              <a:pPr/>
              <a:t>1,7</a:t>
            </a:fld>
            <a:endParaRPr lang="fr-FR" sz="700" noProof="0" dirty="0">
              <a:latin typeface="+mn-lt"/>
            </a:endParaRPr>
          </a:p>
        </p:txBody>
      </p:sp>
      <p:sp>
        <p:nvSpPr>
          <p:cNvPr id="39" name="Espace réservé du texte 2">
            <a:extLst>
              <a:ext uri="{FF2B5EF4-FFF2-40B4-BE49-F238E27FC236}">
                <a16:creationId xmlns:a16="http://schemas.microsoft.com/office/drawing/2014/main" id="{8A5DE707-E94C-661F-984F-7A97E134131B}"/>
              </a:ext>
            </a:extLst>
          </p:cNvPr>
          <p:cNvSpPr>
            <a:spLocks noGrp="1"/>
          </p:cNvSpPr>
          <p:nvPr>
            <p:custDataLst>
              <p:tags r:id="rId57"/>
            </p:custDataLst>
          </p:nvPr>
        </p:nvSpPr>
        <p:spPr bwMode="gray">
          <a:xfrm>
            <a:off x="5373688" y="3136766"/>
            <a:ext cx="136525" cy="106363"/>
          </a:xfrm>
          <a:prstGeom prst="rect">
            <a:avLst/>
          </a:prstGeom>
          <a:solidFill>
            <a:schemeClr val="accent1"/>
          </a:solidFill>
          <a:ln>
            <a:noFill/>
          </a:ln>
          <a:effectLst/>
        </p:spPr>
        <p:txBody>
          <a:bodyPr vert="horz" wrap="none" lIns="12700" tIns="0" rIns="1270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3E80D3F8-F7AA-4ECE-A9B8-739698C22B90}" type="datetime'''''''1'',''5'''''''''''''">
              <a:rPr lang="fr-FR" altLang="en-US" sz="700" smtClean="0">
                <a:solidFill>
                  <a:schemeClr val="bg1"/>
                </a:solidFill>
                <a:effectLst/>
                <a:latin typeface="+mn-lt"/>
              </a:rPr>
              <a:pPr/>
              <a:t>1,5</a:t>
            </a:fld>
            <a:endParaRPr lang="fr-FR" sz="700" noProof="0" dirty="0">
              <a:solidFill>
                <a:schemeClr val="bg1"/>
              </a:solidFill>
              <a:latin typeface="+mn-lt"/>
            </a:endParaRPr>
          </a:p>
        </p:txBody>
      </p:sp>
      <p:sp>
        <p:nvSpPr>
          <p:cNvPr id="94" name="Espace réservé du texte 2">
            <a:extLst>
              <a:ext uri="{FF2B5EF4-FFF2-40B4-BE49-F238E27FC236}">
                <a16:creationId xmlns:a16="http://schemas.microsoft.com/office/drawing/2014/main" id="{A3F00F5D-FACF-91E8-F802-7645E1225852}"/>
              </a:ext>
            </a:extLst>
          </p:cNvPr>
          <p:cNvSpPr>
            <a:spLocks noGrp="1"/>
          </p:cNvSpPr>
          <p:nvPr>
            <p:custDataLst>
              <p:tags r:id="rId58"/>
            </p:custDataLst>
          </p:nvPr>
        </p:nvSpPr>
        <p:spPr bwMode="auto">
          <a:xfrm>
            <a:off x="3363913" y="4181342"/>
            <a:ext cx="1905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EF2C2933-53EA-45BA-9645-83D7C7A7F9F1}" type="datetime'2''''''''''''0''''1''9'">
              <a:rPr lang="fr-FR" altLang="en-US" sz="700" smtClean="0">
                <a:latin typeface="+mn-lt"/>
              </a:rPr>
              <a:pPr/>
              <a:t>2019</a:t>
            </a:fld>
            <a:endParaRPr lang="fr-FR" sz="700" noProof="0" dirty="0">
              <a:latin typeface="+mn-lt"/>
            </a:endParaRPr>
          </a:p>
        </p:txBody>
      </p:sp>
      <p:sp>
        <p:nvSpPr>
          <p:cNvPr id="96" name="Espace réservé du texte 2">
            <a:extLst>
              <a:ext uri="{FF2B5EF4-FFF2-40B4-BE49-F238E27FC236}">
                <a16:creationId xmlns:a16="http://schemas.microsoft.com/office/drawing/2014/main" id="{7C8F7FF1-8E12-9A96-884F-E578CF789DDE}"/>
              </a:ext>
            </a:extLst>
          </p:cNvPr>
          <p:cNvSpPr>
            <a:spLocks noGrp="1"/>
          </p:cNvSpPr>
          <p:nvPr>
            <p:custDataLst>
              <p:tags r:id="rId59"/>
            </p:custDataLst>
          </p:nvPr>
        </p:nvSpPr>
        <p:spPr bwMode="gray">
          <a:xfrm>
            <a:off x="3533775" y="2443029"/>
            <a:ext cx="136525" cy="106363"/>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551C34F1-9958-4418-AE8E-101713AA22A5}" type="datetime'''0'''''',''''''''''''''''''''''''''''''''1'''''''''''''">
              <a:rPr lang="fr-FR" altLang="en-US" sz="700" smtClean="0">
                <a:effectLst/>
                <a:latin typeface="+mn-lt"/>
              </a:rPr>
              <a:pPr marL="0" algn="ctr">
                <a:spcBef>
                  <a:spcPct val="0"/>
                </a:spcBef>
                <a:spcAft>
                  <a:spcPct val="0"/>
                </a:spcAft>
              </a:pPr>
              <a:t>0,1</a:t>
            </a:fld>
            <a:endParaRPr lang="fr-FR" sz="700" noProof="0" dirty="0">
              <a:latin typeface="+mn-lt"/>
            </a:endParaRPr>
          </a:p>
        </p:txBody>
      </p:sp>
      <p:sp>
        <p:nvSpPr>
          <p:cNvPr id="99" name="Espace réservé du texte 2">
            <a:extLst>
              <a:ext uri="{FF2B5EF4-FFF2-40B4-BE49-F238E27FC236}">
                <a16:creationId xmlns:a16="http://schemas.microsoft.com/office/drawing/2014/main" id="{DBFB02AA-5468-2EE5-89B3-E356DDBFCE6A}"/>
              </a:ext>
            </a:extLst>
          </p:cNvPr>
          <p:cNvSpPr>
            <a:spLocks noGrp="1"/>
          </p:cNvSpPr>
          <p:nvPr>
            <p:custDataLst>
              <p:tags r:id="rId60"/>
            </p:custDataLst>
          </p:nvPr>
        </p:nvSpPr>
        <p:spPr bwMode="auto">
          <a:xfrm>
            <a:off x="3648075" y="4181342"/>
            <a:ext cx="1905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099B9123-E145-4C59-8A30-583C8B4DB664}" type="datetime'''''''''''''''''''''''''''''''''2''''''''''''''''02''1'''''''">
              <a:rPr lang="fr-FR" altLang="en-US" sz="700" smtClean="0">
                <a:latin typeface="+mn-lt"/>
              </a:rPr>
              <a:pPr/>
              <a:t>2021</a:t>
            </a:fld>
            <a:endParaRPr lang="fr-FR" sz="700" noProof="0" dirty="0">
              <a:latin typeface="+mn-lt"/>
            </a:endParaRPr>
          </a:p>
        </p:txBody>
      </p:sp>
      <p:sp>
        <p:nvSpPr>
          <p:cNvPr id="104" name="Espace réservé du texte 2">
            <a:extLst>
              <a:ext uri="{FF2B5EF4-FFF2-40B4-BE49-F238E27FC236}">
                <a16:creationId xmlns:a16="http://schemas.microsoft.com/office/drawing/2014/main" id="{9D90E57B-D24D-39B8-510C-151444BB7445}"/>
              </a:ext>
            </a:extLst>
          </p:cNvPr>
          <p:cNvSpPr>
            <a:spLocks noGrp="1"/>
          </p:cNvSpPr>
          <p:nvPr>
            <p:custDataLst>
              <p:tags r:id="rId61"/>
            </p:custDataLst>
          </p:nvPr>
        </p:nvSpPr>
        <p:spPr bwMode="gray">
          <a:xfrm>
            <a:off x="4098925" y="2620829"/>
            <a:ext cx="136525" cy="106363"/>
          </a:xfrm>
          <a:prstGeom prst="rect">
            <a:avLst/>
          </a:prstGeom>
          <a:solidFill>
            <a:schemeClr val="accent1"/>
          </a:solidFill>
          <a:ln>
            <a:noFill/>
          </a:ln>
          <a:effectLst/>
        </p:spPr>
        <p:txBody>
          <a:bodyPr vert="horz" wrap="none" lIns="12700" tIns="0" rIns="1270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D6DAC2F3-23FF-4766-AE5B-702EC4604CEF}" type="datetime'''''''''''''''''''0'''''''''''''''',''''4'''''''''''''">
              <a:rPr lang="fr-FR" altLang="en-US" sz="700" smtClean="0">
                <a:solidFill>
                  <a:schemeClr val="bg1"/>
                </a:solidFill>
                <a:effectLst/>
                <a:latin typeface="+mn-lt"/>
              </a:rPr>
              <a:pPr marL="0" algn="ctr">
                <a:spcBef>
                  <a:spcPct val="0"/>
                </a:spcBef>
                <a:spcAft>
                  <a:spcPct val="0"/>
                </a:spcAft>
              </a:pPr>
              <a:t>0,4</a:t>
            </a:fld>
            <a:endParaRPr lang="fr-FR" sz="700" noProof="0" dirty="0">
              <a:solidFill>
                <a:schemeClr val="bg1"/>
              </a:solidFill>
              <a:latin typeface="+mn-lt"/>
            </a:endParaRPr>
          </a:p>
        </p:txBody>
      </p:sp>
      <p:sp>
        <p:nvSpPr>
          <p:cNvPr id="117" name="Espace réservé du texte 2">
            <a:extLst>
              <a:ext uri="{FF2B5EF4-FFF2-40B4-BE49-F238E27FC236}">
                <a16:creationId xmlns:a16="http://schemas.microsoft.com/office/drawing/2014/main" id="{FED2770A-5EA6-428B-C100-61545AC82A3D}"/>
              </a:ext>
            </a:extLst>
          </p:cNvPr>
          <p:cNvSpPr>
            <a:spLocks noGrp="1"/>
          </p:cNvSpPr>
          <p:nvPr>
            <p:custDataLst>
              <p:tags r:id="rId62"/>
            </p:custDataLst>
          </p:nvPr>
        </p:nvSpPr>
        <p:spPr bwMode="gray">
          <a:xfrm>
            <a:off x="3390900" y="1912804"/>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6BA8403E-96AC-4704-9370-E8F1BCF6A119}" type="datetime'''''''''''2'''''''''''''''''''',''''''3'''''''''''''''''">
              <a:rPr lang="fr-FR" altLang="en-US" sz="700" smtClean="0">
                <a:latin typeface="+mn-lt"/>
              </a:rPr>
              <a:pPr/>
              <a:t>2,3</a:t>
            </a:fld>
            <a:endParaRPr lang="fr-FR" sz="700" noProof="0" dirty="0">
              <a:latin typeface="+mn-lt"/>
            </a:endParaRPr>
          </a:p>
        </p:txBody>
      </p:sp>
      <p:sp>
        <p:nvSpPr>
          <p:cNvPr id="106" name="Espace réservé du texte 2">
            <a:extLst>
              <a:ext uri="{FF2B5EF4-FFF2-40B4-BE49-F238E27FC236}">
                <a16:creationId xmlns:a16="http://schemas.microsoft.com/office/drawing/2014/main" id="{58F980C9-85F4-DB3C-D8F8-A603AD507419}"/>
              </a:ext>
            </a:extLst>
          </p:cNvPr>
          <p:cNvSpPr>
            <a:spLocks noGrp="1"/>
          </p:cNvSpPr>
          <p:nvPr>
            <p:custDataLst>
              <p:tags r:id="rId63"/>
            </p:custDataLst>
          </p:nvPr>
        </p:nvSpPr>
        <p:spPr bwMode="gray">
          <a:xfrm>
            <a:off x="4240213" y="2557329"/>
            <a:ext cx="136525" cy="106363"/>
          </a:xfrm>
          <a:prstGeom prst="rect">
            <a:avLst/>
          </a:prstGeom>
          <a:solidFill>
            <a:schemeClr val="accent1"/>
          </a:solidFill>
          <a:ln>
            <a:noFill/>
          </a:ln>
          <a:effectLst/>
        </p:spPr>
        <p:txBody>
          <a:bodyPr vert="horz" wrap="none" lIns="12700" tIns="0" rIns="1270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E9D27DB7-0725-412C-A255-319827CCA4FE}" type="datetime'''''''''''''''0'''''''''''''''''',''''5'''''''''''">
              <a:rPr lang="fr-FR" altLang="en-US" sz="700" smtClean="0">
                <a:solidFill>
                  <a:schemeClr val="bg1"/>
                </a:solidFill>
                <a:effectLst/>
                <a:latin typeface="+mn-lt"/>
              </a:rPr>
              <a:pPr marL="0" algn="ctr">
                <a:spcBef>
                  <a:spcPct val="0"/>
                </a:spcBef>
                <a:spcAft>
                  <a:spcPct val="0"/>
                </a:spcAft>
              </a:pPr>
              <a:t>0,5</a:t>
            </a:fld>
            <a:endParaRPr lang="fr-FR" sz="700" noProof="0" dirty="0">
              <a:solidFill>
                <a:schemeClr val="bg1"/>
              </a:solidFill>
              <a:latin typeface="+mn-lt"/>
            </a:endParaRPr>
          </a:p>
        </p:txBody>
      </p:sp>
      <p:sp>
        <p:nvSpPr>
          <p:cNvPr id="36" name="Espace réservé du texte 2">
            <a:extLst>
              <a:ext uri="{FF2B5EF4-FFF2-40B4-BE49-F238E27FC236}">
                <a16:creationId xmlns:a16="http://schemas.microsoft.com/office/drawing/2014/main" id="{2B982AFB-4C67-8060-6713-4233EF8433C7}"/>
              </a:ext>
            </a:extLst>
          </p:cNvPr>
          <p:cNvSpPr>
            <a:spLocks noGrp="1"/>
          </p:cNvSpPr>
          <p:nvPr>
            <p:custDataLst>
              <p:tags r:id="rId64"/>
            </p:custDataLst>
          </p:nvPr>
        </p:nvSpPr>
        <p:spPr bwMode="gray">
          <a:xfrm>
            <a:off x="5232400" y="2339841"/>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5AB0AE17-A84D-494B-BE46-D7A813A83BDB}" type="datetime'''''''''''''''''''''''''''''''''1'',''''''''''''8'''''''">
              <a:rPr lang="fr-FR" altLang="en-US" sz="700" smtClean="0">
                <a:latin typeface="+mn-lt"/>
              </a:rPr>
              <a:pPr/>
              <a:t>1,8</a:t>
            </a:fld>
            <a:endParaRPr lang="fr-FR" sz="700" noProof="0" dirty="0">
              <a:latin typeface="+mn-lt"/>
            </a:endParaRPr>
          </a:p>
        </p:txBody>
      </p:sp>
      <p:sp>
        <p:nvSpPr>
          <p:cNvPr id="108" name="Espace réservé du texte 2">
            <a:extLst>
              <a:ext uri="{FF2B5EF4-FFF2-40B4-BE49-F238E27FC236}">
                <a16:creationId xmlns:a16="http://schemas.microsoft.com/office/drawing/2014/main" id="{39DC7904-44A4-63B6-1331-F5E9456B0B93}"/>
              </a:ext>
            </a:extLst>
          </p:cNvPr>
          <p:cNvSpPr>
            <a:spLocks noGrp="1"/>
          </p:cNvSpPr>
          <p:nvPr>
            <p:custDataLst>
              <p:tags r:id="rId65"/>
            </p:custDataLst>
          </p:nvPr>
        </p:nvSpPr>
        <p:spPr bwMode="auto">
          <a:xfrm>
            <a:off x="4213225" y="4181342"/>
            <a:ext cx="1905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3F44BBFE-BD3C-4F99-AE54-E8D617ADD0FC}" type="datetime'''''2''''''''''02''''''''''''''''5'''''''''''''''">
              <a:rPr lang="fr-FR" altLang="en-US" sz="700" smtClean="0">
                <a:latin typeface="+mn-lt"/>
              </a:rPr>
              <a:pPr/>
              <a:t>2025</a:t>
            </a:fld>
            <a:endParaRPr lang="fr-FR" sz="700" noProof="0" dirty="0">
              <a:latin typeface="+mn-lt"/>
            </a:endParaRPr>
          </a:p>
        </p:txBody>
      </p:sp>
      <p:sp>
        <p:nvSpPr>
          <p:cNvPr id="110" name="Espace réservé du texte 2">
            <a:extLst>
              <a:ext uri="{FF2B5EF4-FFF2-40B4-BE49-F238E27FC236}">
                <a16:creationId xmlns:a16="http://schemas.microsoft.com/office/drawing/2014/main" id="{451FB6C3-A0D1-D44E-E09F-1BB408FDE688}"/>
              </a:ext>
            </a:extLst>
          </p:cNvPr>
          <p:cNvSpPr>
            <a:spLocks noGrp="1"/>
          </p:cNvSpPr>
          <p:nvPr>
            <p:custDataLst>
              <p:tags r:id="rId66"/>
            </p:custDataLst>
          </p:nvPr>
        </p:nvSpPr>
        <p:spPr bwMode="gray">
          <a:xfrm>
            <a:off x="4383088" y="2647816"/>
            <a:ext cx="136525" cy="106363"/>
          </a:xfrm>
          <a:prstGeom prst="rect">
            <a:avLst/>
          </a:prstGeom>
          <a:solidFill>
            <a:schemeClr val="accent1"/>
          </a:solidFill>
          <a:ln>
            <a:noFill/>
          </a:ln>
          <a:effectLst/>
        </p:spPr>
        <p:txBody>
          <a:bodyPr vert="horz" wrap="none" lIns="12700" tIns="0" rIns="1270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590747E9-15D1-484C-B619-B41EEEC703A5}" type="datetime'''''0'''''''''''''''''''''''',''''''''''6'">
              <a:rPr lang="fr-FR" altLang="en-US" sz="700" smtClean="0">
                <a:solidFill>
                  <a:schemeClr val="bg1"/>
                </a:solidFill>
                <a:latin typeface="+mn-lt"/>
              </a:rPr>
              <a:pPr/>
              <a:t>0,6</a:t>
            </a:fld>
            <a:endParaRPr lang="fr-FR" sz="700" noProof="0" dirty="0">
              <a:solidFill>
                <a:schemeClr val="bg1"/>
              </a:solidFill>
              <a:latin typeface="+mn-lt"/>
            </a:endParaRPr>
          </a:p>
        </p:txBody>
      </p:sp>
      <p:sp>
        <p:nvSpPr>
          <p:cNvPr id="113" name="Espace réservé du texte 2">
            <a:extLst>
              <a:ext uri="{FF2B5EF4-FFF2-40B4-BE49-F238E27FC236}">
                <a16:creationId xmlns:a16="http://schemas.microsoft.com/office/drawing/2014/main" id="{A3920247-2DC6-5AEC-2189-8F53F2D5C5AB}"/>
              </a:ext>
            </a:extLst>
          </p:cNvPr>
          <p:cNvSpPr>
            <a:spLocks noGrp="1"/>
          </p:cNvSpPr>
          <p:nvPr>
            <p:custDataLst>
              <p:tags r:id="rId67"/>
            </p:custDataLst>
          </p:nvPr>
        </p:nvSpPr>
        <p:spPr bwMode="gray">
          <a:xfrm>
            <a:off x="4524375" y="2725604"/>
            <a:ext cx="136525" cy="106363"/>
          </a:xfrm>
          <a:prstGeom prst="rect">
            <a:avLst/>
          </a:prstGeom>
          <a:solidFill>
            <a:schemeClr val="accent1"/>
          </a:solidFill>
          <a:ln>
            <a:noFill/>
          </a:ln>
          <a:effectLst/>
        </p:spPr>
        <p:txBody>
          <a:bodyPr vert="horz" wrap="none" lIns="12700" tIns="0" rIns="1270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94C3D0BB-DCDB-43C3-8C5E-C0E64E71913E}" type="datetime'''''''''''''''''''''''0'''''''''''''''''''''',8'''''''''">
              <a:rPr lang="fr-FR" altLang="en-US" sz="700" smtClean="0">
                <a:solidFill>
                  <a:schemeClr val="bg1"/>
                </a:solidFill>
                <a:effectLst/>
                <a:latin typeface="+mn-lt"/>
              </a:rPr>
              <a:pPr marL="0" algn="ctr">
                <a:spcBef>
                  <a:spcPct val="0"/>
                </a:spcBef>
                <a:spcAft>
                  <a:spcPct val="0"/>
                </a:spcAft>
              </a:pPr>
              <a:t>0,8</a:t>
            </a:fld>
            <a:endParaRPr lang="fr-FR" sz="700" noProof="0" dirty="0">
              <a:solidFill>
                <a:schemeClr val="bg1"/>
              </a:solidFill>
              <a:latin typeface="+mn-lt"/>
            </a:endParaRPr>
          </a:p>
        </p:txBody>
      </p:sp>
      <p:sp>
        <p:nvSpPr>
          <p:cNvPr id="114" name="Espace réservé du texte 2">
            <a:extLst>
              <a:ext uri="{FF2B5EF4-FFF2-40B4-BE49-F238E27FC236}">
                <a16:creationId xmlns:a16="http://schemas.microsoft.com/office/drawing/2014/main" id="{8D5F7BD9-8B62-00F6-763B-8A2BF7FD440E}"/>
              </a:ext>
            </a:extLst>
          </p:cNvPr>
          <p:cNvSpPr>
            <a:spLocks noGrp="1"/>
          </p:cNvSpPr>
          <p:nvPr>
            <p:custDataLst>
              <p:tags r:id="rId68"/>
            </p:custDataLst>
          </p:nvPr>
        </p:nvSpPr>
        <p:spPr bwMode="auto">
          <a:xfrm>
            <a:off x="4497388" y="4181342"/>
            <a:ext cx="1905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4D167E3B-0C8F-46D4-9C08-25B51A04C025}" type="datetime'''''''''''2''0''27'''''''''''''''''''''''''">
              <a:rPr lang="fr-FR" altLang="en-US" sz="700" smtClean="0">
                <a:latin typeface="+mn-lt"/>
              </a:rPr>
              <a:pPr/>
              <a:t>2027</a:t>
            </a:fld>
            <a:endParaRPr lang="fr-FR" sz="700" noProof="0" dirty="0">
              <a:latin typeface="+mn-lt"/>
            </a:endParaRPr>
          </a:p>
        </p:txBody>
      </p:sp>
      <p:sp>
        <p:nvSpPr>
          <p:cNvPr id="123" name="Espace réservé du texte 2">
            <a:extLst>
              <a:ext uri="{FF2B5EF4-FFF2-40B4-BE49-F238E27FC236}">
                <a16:creationId xmlns:a16="http://schemas.microsoft.com/office/drawing/2014/main" id="{7B879C87-6069-86F2-80DC-04AC479D6D34}"/>
              </a:ext>
            </a:extLst>
          </p:cNvPr>
          <p:cNvSpPr>
            <a:spLocks noGrp="1"/>
          </p:cNvSpPr>
          <p:nvPr>
            <p:custDataLst>
              <p:tags r:id="rId69"/>
            </p:custDataLst>
          </p:nvPr>
        </p:nvSpPr>
        <p:spPr bwMode="gray">
          <a:xfrm>
            <a:off x="4524375" y="2284279"/>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1094F8F7-8780-46F3-AA59-8819EA18A3A9}" type="datetime'''''''''''''''1'''',''''''''''9'''''''''''''''''''''">
              <a:rPr lang="fr-FR" altLang="en-US" sz="700" smtClean="0">
                <a:latin typeface="+mn-lt"/>
              </a:rPr>
              <a:pPr/>
              <a:t>1,9</a:t>
            </a:fld>
            <a:endParaRPr lang="fr-FR" sz="700" noProof="0" dirty="0">
              <a:latin typeface="+mn-lt"/>
            </a:endParaRPr>
          </a:p>
        </p:txBody>
      </p:sp>
      <p:sp>
        <p:nvSpPr>
          <p:cNvPr id="37" name="Espace réservé du texte 2">
            <a:extLst>
              <a:ext uri="{FF2B5EF4-FFF2-40B4-BE49-F238E27FC236}">
                <a16:creationId xmlns:a16="http://schemas.microsoft.com/office/drawing/2014/main" id="{39D389ED-414F-9CB7-B0BE-1BB7E36A1847}"/>
              </a:ext>
            </a:extLst>
          </p:cNvPr>
          <p:cNvSpPr>
            <a:spLocks noGrp="1"/>
          </p:cNvSpPr>
          <p:nvPr>
            <p:custDataLst>
              <p:tags r:id="rId70"/>
            </p:custDataLst>
          </p:nvPr>
        </p:nvSpPr>
        <p:spPr bwMode="gray">
          <a:xfrm>
            <a:off x="5232400" y="3076441"/>
            <a:ext cx="136525" cy="106363"/>
          </a:xfrm>
          <a:prstGeom prst="rect">
            <a:avLst/>
          </a:prstGeom>
          <a:solidFill>
            <a:schemeClr val="accent1"/>
          </a:solidFill>
          <a:ln>
            <a:noFill/>
          </a:ln>
          <a:effectLst/>
        </p:spPr>
        <p:txBody>
          <a:bodyPr vert="horz" wrap="none" lIns="12700" tIns="0" rIns="1270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61F02DB1-ADD9-47C9-A1E8-C8C8A18FAA0E}" type="datetime'''''''''''1'''''''',''''''''''4'">
              <a:rPr lang="fr-FR" altLang="en-US" sz="700" smtClean="0">
                <a:solidFill>
                  <a:schemeClr val="bg1"/>
                </a:solidFill>
                <a:effectLst/>
                <a:latin typeface="+mn-lt"/>
              </a:rPr>
              <a:pPr/>
              <a:t>1,4</a:t>
            </a:fld>
            <a:endParaRPr lang="fr-FR" sz="700" noProof="0" dirty="0">
              <a:solidFill>
                <a:schemeClr val="bg1"/>
              </a:solidFill>
              <a:latin typeface="+mn-lt"/>
            </a:endParaRPr>
          </a:p>
        </p:txBody>
      </p:sp>
      <p:sp>
        <p:nvSpPr>
          <p:cNvPr id="107" name="Espace réservé du texte 2">
            <a:extLst>
              <a:ext uri="{FF2B5EF4-FFF2-40B4-BE49-F238E27FC236}">
                <a16:creationId xmlns:a16="http://schemas.microsoft.com/office/drawing/2014/main" id="{5E405AB2-A127-30F3-6920-BA93AC4CCBEE}"/>
              </a:ext>
            </a:extLst>
          </p:cNvPr>
          <p:cNvSpPr>
            <a:spLocks noGrp="1"/>
          </p:cNvSpPr>
          <p:nvPr>
            <p:custDataLst>
              <p:tags r:id="rId71"/>
            </p:custDataLst>
          </p:nvPr>
        </p:nvSpPr>
        <p:spPr bwMode="gray">
          <a:xfrm>
            <a:off x="4665663" y="2803391"/>
            <a:ext cx="136525" cy="106363"/>
          </a:xfrm>
          <a:prstGeom prst="rect">
            <a:avLst/>
          </a:prstGeom>
          <a:solidFill>
            <a:schemeClr val="accent1"/>
          </a:solidFill>
          <a:ln>
            <a:noFill/>
          </a:ln>
          <a:effectLst/>
        </p:spPr>
        <p:txBody>
          <a:bodyPr vert="horz" wrap="none" lIns="12700" tIns="0" rIns="1270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E01777CF-1B02-45B3-A765-D65DD0DFB403}" type="datetime'''''''''''''''''''''''''''''''''0'''''''''''',''''''''''9'''''">
              <a:rPr lang="fr-FR" altLang="en-US" sz="700" smtClean="0">
                <a:solidFill>
                  <a:schemeClr val="bg1"/>
                </a:solidFill>
                <a:effectLst/>
                <a:latin typeface="+mn-lt"/>
              </a:rPr>
              <a:pPr marL="0" algn="ctr">
                <a:spcBef>
                  <a:spcPct val="0"/>
                </a:spcBef>
                <a:spcAft>
                  <a:spcPct val="0"/>
                </a:spcAft>
              </a:pPr>
              <a:t>0,9</a:t>
            </a:fld>
            <a:endParaRPr lang="fr-FR" sz="700" noProof="0" dirty="0">
              <a:solidFill>
                <a:schemeClr val="bg1"/>
              </a:solidFill>
              <a:latin typeface="+mn-lt"/>
            </a:endParaRPr>
          </a:p>
        </p:txBody>
      </p:sp>
      <p:sp>
        <p:nvSpPr>
          <p:cNvPr id="27" name="Espace réservé du texte 2">
            <a:extLst>
              <a:ext uri="{FF2B5EF4-FFF2-40B4-BE49-F238E27FC236}">
                <a16:creationId xmlns:a16="http://schemas.microsoft.com/office/drawing/2014/main" id="{18B93233-0F6B-D318-845A-5AF86286A96B}"/>
              </a:ext>
            </a:extLst>
          </p:cNvPr>
          <p:cNvSpPr>
            <a:spLocks noGrp="1"/>
          </p:cNvSpPr>
          <p:nvPr>
            <p:custDataLst>
              <p:tags r:id="rId72"/>
            </p:custDataLst>
          </p:nvPr>
        </p:nvSpPr>
        <p:spPr bwMode="auto">
          <a:xfrm>
            <a:off x="5629275" y="4181341"/>
            <a:ext cx="1905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5D5B284F-EFA5-4945-BD65-7D273307774A}" type="datetime'''''''''2''''''''0''''''''''''''''''''''''''''3''5'''''''''''">
              <a:rPr lang="fr-FR" altLang="en-US" sz="700" smtClean="0">
                <a:latin typeface="+mn-lt"/>
              </a:rPr>
              <a:pPr/>
              <a:t>2035</a:t>
            </a:fld>
            <a:endParaRPr lang="fr-FR" sz="700" noProof="0" dirty="0">
              <a:latin typeface="+mn-lt"/>
            </a:endParaRPr>
          </a:p>
        </p:txBody>
      </p:sp>
      <p:sp>
        <p:nvSpPr>
          <p:cNvPr id="98" name="Espace réservé du texte 2">
            <a:extLst>
              <a:ext uri="{FF2B5EF4-FFF2-40B4-BE49-F238E27FC236}">
                <a16:creationId xmlns:a16="http://schemas.microsoft.com/office/drawing/2014/main" id="{A8827565-E2B6-ED56-B980-56ABAB61C163}"/>
              </a:ext>
            </a:extLst>
          </p:cNvPr>
          <p:cNvSpPr>
            <a:spLocks noGrp="1"/>
          </p:cNvSpPr>
          <p:nvPr>
            <p:custDataLst>
              <p:tags r:id="rId73"/>
            </p:custDataLst>
          </p:nvPr>
        </p:nvSpPr>
        <p:spPr bwMode="gray">
          <a:xfrm>
            <a:off x="4806950" y="2893879"/>
            <a:ext cx="136525" cy="106363"/>
          </a:xfrm>
          <a:prstGeom prst="rect">
            <a:avLst/>
          </a:prstGeom>
          <a:solidFill>
            <a:schemeClr val="accent1"/>
          </a:solidFill>
          <a:ln>
            <a:noFill/>
          </a:ln>
          <a:effectLst/>
        </p:spPr>
        <p:txBody>
          <a:bodyPr vert="horz" wrap="none" lIns="12700" tIns="0" rIns="1270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0564318E-6459-472C-81F9-774BBF93500F}" type="datetime'''''''''''''''''''''''''''''''''''''''1'''''''',''0'''">
              <a:rPr lang="fr-FR" altLang="en-US" sz="700" smtClean="0">
                <a:solidFill>
                  <a:schemeClr val="bg1"/>
                </a:solidFill>
                <a:effectLst/>
                <a:latin typeface="+mn-lt"/>
              </a:rPr>
              <a:pPr/>
              <a:t>1,0</a:t>
            </a:fld>
            <a:endParaRPr lang="fr-FR" sz="700" noProof="0" dirty="0">
              <a:solidFill>
                <a:schemeClr val="bg1"/>
              </a:solidFill>
              <a:latin typeface="+mn-lt"/>
            </a:endParaRPr>
          </a:p>
        </p:txBody>
      </p:sp>
      <p:sp>
        <p:nvSpPr>
          <p:cNvPr id="115" name="Espace réservé du texte 2">
            <a:extLst>
              <a:ext uri="{FF2B5EF4-FFF2-40B4-BE49-F238E27FC236}">
                <a16:creationId xmlns:a16="http://schemas.microsoft.com/office/drawing/2014/main" id="{2D5BEA86-C2D8-B1B2-F083-FE8040A9A342}"/>
              </a:ext>
            </a:extLst>
          </p:cNvPr>
          <p:cNvSpPr>
            <a:spLocks noGrp="1"/>
          </p:cNvSpPr>
          <p:nvPr>
            <p:custDataLst>
              <p:tags r:id="rId74"/>
            </p:custDataLst>
          </p:nvPr>
        </p:nvSpPr>
        <p:spPr bwMode="auto">
          <a:xfrm>
            <a:off x="4779963" y="4181342"/>
            <a:ext cx="1905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9D92D25A-8581-4C37-AF2C-6676EA99F747}" type="datetime'''2''''''''''''''0''''''''''''''''''''''''''''''2''''''9'''">
              <a:rPr lang="fr-FR" altLang="en-US" sz="700" smtClean="0">
                <a:latin typeface="+mn-lt"/>
              </a:rPr>
              <a:pPr/>
              <a:t>2029</a:t>
            </a:fld>
            <a:endParaRPr lang="fr-FR" sz="700" noProof="0" dirty="0">
              <a:latin typeface="+mn-lt"/>
            </a:endParaRPr>
          </a:p>
        </p:txBody>
      </p:sp>
      <p:sp>
        <p:nvSpPr>
          <p:cNvPr id="35" name="Espace réservé du texte 2">
            <a:extLst>
              <a:ext uri="{FF2B5EF4-FFF2-40B4-BE49-F238E27FC236}">
                <a16:creationId xmlns:a16="http://schemas.microsoft.com/office/drawing/2014/main" id="{061FAE36-7C48-4689-E28A-1A86CC0F9B1F}"/>
              </a:ext>
            </a:extLst>
          </p:cNvPr>
          <p:cNvSpPr>
            <a:spLocks noGrp="1"/>
          </p:cNvSpPr>
          <p:nvPr>
            <p:custDataLst>
              <p:tags r:id="rId75"/>
            </p:custDataLst>
          </p:nvPr>
        </p:nvSpPr>
        <p:spPr bwMode="gray">
          <a:xfrm>
            <a:off x="5089525" y="3014529"/>
            <a:ext cx="136525" cy="106363"/>
          </a:xfrm>
          <a:prstGeom prst="rect">
            <a:avLst/>
          </a:prstGeom>
          <a:solidFill>
            <a:schemeClr val="accent1"/>
          </a:solidFill>
          <a:ln>
            <a:noFill/>
          </a:ln>
          <a:effectLst/>
        </p:spPr>
        <p:txBody>
          <a:bodyPr vert="horz" wrap="none" lIns="12700" tIns="0" rIns="1270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BEFD58BE-D522-4E12-AF04-2944CC410B94}" type="datetime'1'''''''''''''''''',''3'''''''''''''''''''''''''">
              <a:rPr lang="fr-FR" altLang="en-US" sz="700" smtClean="0">
                <a:solidFill>
                  <a:schemeClr val="bg1"/>
                </a:solidFill>
                <a:effectLst/>
                <a:latin typeface="+mn-lt"/>
              </a:rPr>
              <a:pPr/>
              <a:t>1,3</a:t>
            </a:fld>
            <a:endParaRPr lang="fr-FR" sz="700" noProof="0" dirty="0">
              <a:solidFill>
                <a:schemeClr val="bg1"/>
              </a:solidFill>
              <a:latin typeface="+mn-lt"/>
            </a:endParaRPr>
          </a:p>
        </p:txBody>
      </p:sp>
      <p:sp>
        <p:nvSpPr>
          <p:cNvPr id="17" name="Espace réservé du texte 2">
            <a:extLst>
              <a:ext uri="{FF2B5EF4-FFF2-40B4-BE49-F238E27FC236}">
                <a16:creationId xmlns:a16="http://schemas.microsoft.com/office/drawing/2014/main" id="{C8D76234-8895-DEA4-FC68-6FC926332533}"/>
              </a:ext>
            </a:extLst>
          </p:cNvPr>
          <p:cNvSpPr>
            <a:spLocks noGrp="1"/>
          </p:cNvSpPr>
          <p:nvPr>
            <p:custDataLst>
              <p:tags r:id="rId76"/>
            </p:custDataLst>
          </p:nvPr>
        </p:nvSpPr>
        <p:spPr bwMode="auto">
          <a:xfrm>
            <a:off x="5062538" y="4181341"/>
            <a:ext cx="1905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E9C81DC1-68AE-469B-AA2C-FB5D414169C2}" type="datetime'''''''''''''20''''''''''''''3''''''''1'''">
              <a:rPr lang="fr-FR" altLang="en-US" sz="700" smtClean="0">
                <a:latin typeface="+mn-lt"/>
              </a:rPr>
              <a:pPr/>
              <a:t>2031</a:t>
            </a:fld>
            <a:endParaRPr lang="fr-FR" sz="700" noProof="0" dirty="0">
              <a:latin typeface="+mn-lt"/>
            </a:endParaRPr>
          </a:p>
        </p:txBody>
      </p:sp>
      <p:sp>
        <p:nvSpPr>
          <p:cNvPr id="19" name="Espace réservé du texte 2">
            <a:extLst>
              <a:ext uri="{FF2B5EF4-FFF2-40B4-BE49-F238E27FC236}">
                <a16:creationId xmlns:a16="http://schemas.microsoft.com/office/drawing/2014/main" id="{14826D96-CEE5-0424-7472-97671F56772A}"/>
              </a:ext>
            </a:extLst>
          </p:cNvPr>
          <p:cNvSpPr>
            <a:spLocks noGrp="1"/>
          </p:cNvSpPr>
          <p:nvPr>
            <p:custDataLst>
              <p:tags r:id="rId77"/>
            </p:custDataLst>
          </p:nvPr>
        </p:nvSpPr>
        <p:spPr bwMode="auto">
          <a:xfrm>
            <a:off x="5346700" y="4181341"/>
            <a:ext cx="190500"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543D5F86-BDE6-4EB6-895E-B6EE9DEDDDFD}" type="datetime'''2''''''''0''''3''''''''''''''''''''''''''''''''''3'''''''''">
              <a:rPr lang="fr-FR" altLang="en-US" sz="700" smtClean="0">
                <a:latin typeface="+mn-lt"/>
              </a:rPr>
              <a:pPr/>
              <a:t>2033</a:t>
            </a:fld>
            <a:endParaRPr lang="fr-FR" sz="700" noProof="0" dirty="0">
              <a:latin typeface="+mn-lt"/>
            </a:endParaRPr>
          </a:p>
        </p:txBody>
      </p:sp>
      <p:sp>
        <p:nvSpPr>
          <p:cNvPr id="41" name="Espace réservé du texte 2">
            <a:extLst>
              <a:ext uri="{FF2B5EF4-FFF2-40B4-BE49-F238E27FC236}">
                <a16:creationId xmlns:a16="http://schemas.microsoft.com/office/drawing/2014/main" id="{DA8C1595-CDC9-D87A-6CF6-277718F2A8C2}"/>
              </a:ext>
            </a:extLst>
          </p:cNvPr>
          <p:cNvSpPr>
            <a:spLocks noGrp="1"/>
          </p:cNvSpPr>
          <p:nvPr>
            <p:custDataLst>
              <p:tags r:id="rId78"/>
            </p:custDataLst>
          </p:nvPr>
        </p:nvSpPr>
        <p:spPr bwMode="gray">
          <a:xfrm>
            <a:off x="5514975" y="3197091"/>
            <a:ext cx="136525" cy="106363"/>
          </a:xfrm>
          <a:prstGeom prst="rect">
            <a:avLst/>
          </a:prstGeom>
          <a:solidFill>
            <a:schemeClr val="accent1"/>
          </a:solidFill>
          <a:ln>
            <a:noFill/>
          </a:ln>
          <a:effectLst/>
        </p:spPr>
        <p:txBody>
          <a:bodyPr vert="horz" wrap="none" lIns="12700" tIns="0" rIns="1270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D75CB4D7-5E42-4BC5-B8F7-45EAF043CFA1}" type="datetime'''''''''''''''1'''''''''''''',''''''''''''''''''''7'''">
              <a:rPr lang="fr-FR" altLang="en-US" sz="700" smtClean="0">
                <a:solidFill>
                  <a:schemeClr val="bg1"/>
                </a:solidFill>
                <a:effectLst/>
                <a:latin typeface="+mn-lt"/>
              </a:rPr>
              <a:pPr/>
              <a:t>1,7</a:t>
            </a:fld>
            <a:endParaRPr lang="fr-FR" sz="700" noProof="0" dirty="0">
              <a:solidFill>
                <a:schemeClr val="bg1"/>
              </a:solidFill>
              <a:latin typeface="+mn-lt"/>
            </a:endParaRPr>
          </a:p>
        </p:txBody>
      </p:sp>
      <p:sp>
        <p:nvSpPr>
          <p:cNvPr id="95" name="Espace réservé du texte 2">
            <a:extLst>
              <a:ext uri="{FF2B5EF4-FFF2-40B4-BE49-F238E27FC236}">
                <a16:creationId xmlns:a16="http://schemas.microsoft.com/office/drawing/2014/main" id="{60330547-E79D-5D41-75C2-E51053057F50}"/>
              </a:ext>
            </a:extLst>
          </p:cNvPr>
          <p:cNvSpPr>
            <a:spLocks noGrp="1"/>
          </p:cNvSpPr>
          <p:nvPr>
            <p:custDataLst>
              <p:tags r:id="rId79"/>
            </p:custDataLst>
          </p:nvPr>
        </p:nvSpPr>
        <p:spPr bwMode="gray">
          <a:xfrm>
            <a:off x="3249613" y="1938204"/>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405A55AF-DADF-4254-B662-1161DF4AC17B}" type="datetime'''''''''''''''''2'''''',''''''''2'''''''''''''''''''''''''''''">
              <a:rPr lang="fr-FR" altLang="en-US" sz="700" smtClean="0">
                <a:latin typeface="+mn-lt"/>
              </a:rPr>
              <a:pPr/>
              <a:t>2,2</a:t>
            </a:fld>
            <a:endParaRPr lang="fr-FR" sz="700" noProof="0" dirty="0">
              <a:latin typeface="+mn-lt"/>
            </a:endParaRPr>
          </a:p>
        </p:txBody>
      </p:sp>
      <p:sp>
        <p:nvSpPr>
          <p:cNvPr id="120" name="Espace réservé du texte 2">
            <a:extLst>
              <a:ext uri="{FF2B5EF4-FFF2-40B4-BE49-F238E27FC236}">
                <a16:creationId xmlns:a16="http://schemas.microsoft.com/office/drawing/2014/main" id="{EB029011-1024-406F-DE7A-AF3A748BC0E0}"/>
              </a:ext>
            </a:extLst>
          </p:cNvPr>
          <p:cNvSpPr>
            <a:spLocks noGrp="1"/>
          </p:cNvSpPr>
          <p:nvPr>
            <p:custDataLst>
              <p:tags r:id="rId80"/>
            </p:custDataLst>
          </p:nvPr>
        </p:nvSpPr>
        <p:spPr bwMode="gray">
          <a:xfrm>
            <a:off x="3675063" y="2433504"/>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7738CD73-B2D9-4A90-99C2-B8C401DD0E12}" type="datetime'''''''''''''''''''''''''1'''''',''''7'">
              <a:rPr lang="fr-FR" altLang="en-US" sz="700" smtClean="0">
                <a:latin typeface="+mn-lt"/>
              </a:rPr>
              <a:pPr/>
              <a:t>1,7</a:t>
            </a:fld>
            <a:endParaRPr lang="fr-FR" sz="700" noProof="0" dirty="0">
              <a:latin typeface="+mn-lt"/>
            </a:endParaRPr>
          </a:p>
        </p:txBody>
      </p:sp>
      <p:sp>
        <p:nvSpPr>
          <p:cNvPr id="93" name="Espace réservé du texte 2">
            <a:extLst>
              <a:ext uri="{FF2B5EF4-FFF2-40B4-BE49-F238E27FC236}">
                <a16:creationId xmlns:a16="http://schemas.microsoft.com/office/drawing/2014/main" id="{2B609B81-CC79-E342-9169-80C30DC17219}"/>
              </a:ext>
            </a:extLst>
          </p:cNvPr>
          <p:cNvSpPr>
            <a:spLocks noGrp="1"/>
          </p:cNvSpPr>
          <p:nvPr>
            <p:custDataLst>
              <p:tags r:id="rId81"/>
            </p:custDataLst>
          </p:nvPr>
        </p:nvSpPr>
        <p:spPr bwMode="gray">
          <a:xfrm>
            <a:off x="3816350" y="2549391"/>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8F22768E-EAF3-4935-8BE1-C49E4D820FAB}" type="datetime'''''''''''''''''''''''''1'''''''''''''''''''',''6'''''''''''">
              <a:rPr lang="fr-FR" altLang="en-US" sz="700" smtClean="0">
                <a:latin typeface="+mn-lt"/>
              </a:rPr>
              <a:pPr/>
              <a:t>1,6</a:t>
            </a:fld>
            <a:endParaRPr lang="fr-FR" sz="700" noProof="0" dirty="0">
              <a:latin typeface="+mn-lt"/>
            </a:endParaRPr>
          </a:p>
        </p:txBody>
      </p:sp>
      <p:sp>
        <p:nvSpPr>
          <p:cNvPr id="121" name="Espace réservé du texte 2">
            <a:extLst>
              <a:ext uri="{FF2B5EF4-FFF2-40B4-BE49-F238E27FC236}">
                <a16:creationId xmlns:a16="http://schemas.microsoft.com/office/drawing/2014/main" id="{D05F9EC2-2086-69FA-FBF0-00D9356FBE1E}"/>
              </a:ext>
            </a:extLst>
          </p:cNvPr>
          <p:cNvSpPr>
            <a:spLocks noGrp="1"/>
          </p:cNvSpPr>
          <p:nvPr>
            <p:custDataLst>
              <p:tags r:id="rId82"/>
            </p:custDataLst>
          </p:nvPr>
        </p:nvSpPr>
        <p:spPr bwMode="gray">
          <a:xfrm>
            <a:off x="3957638" y="2452554"/>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F1E2ACF9-ECE6-4F0C-8C1A-5880ED7E7DC2}" type="datetime'1'''''',''7'''''''">
              <a:rPr lang="fr-FR" altLang="en-US" sz="700" smtClean="0">
                <a:latin typeface="+mn-lt"/>
              </a:rPr>
              <a:pPr/>
              <a:t>1,7</a:t>
            </a:fld>
            <a:endParaRPr lang="fr-FR" sz="700" noProof="0" dirty="0">
              <a:latin typeface="+mn-lt"/>
            </a:endParaRPr>
          </a:p>
        </p:txBody>
      </p:sp>
      <p:sp>
        <p:nvSpPr>
          <p:cNvPr id="122" name="Espace réservé du texte 2">
            <a:extLst>
              <a:ext uri="{FF2B5EF4-FFF2-40B4-BE49-F238E27FC236}">
                <a16:creationId xmlns:a16="http://schemas.microsoft.com/office/drawing/2014/main" id="{98F872FD-185E-1002-6B26-3FA00994BBA2}"/>
              </a:ext>
            </a:extLst>
          </p:cNvPr>
          <p:cNvSpPr>
            <a:spLocks noGrp="1"/>
          </p:cNvSpPr>
          <p:nvPr>
            <p:custDataLst>
              <p:tags r:id="rId83"/>
            </p:custDataLst>
          </p:nvPr>
        </p:nvSpPr>
        <p:spPr bwMode="gray">
          <a:xfrm>
            <a:off x="4098925" y="2358891"/>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D469170F-AE29-488E-8859-1104435E7E41}" type="datetime'''''1'''',''''''''''''''''''''''''''''''''''''''''8'''''">
              <a:rPr lang="fr-FR" altLang="en-US" sz="700" smtClean="0">
                <a:latin typeface="+mn-lt"/>
              </a:rPr>
              <a:pPr/>
              <a:t>1,8</a:t>
            </a:fld>
            <a:endParaRPr lang="fr-FR" sz="700" noProof="0" dirty="0">
              <a:latin typeface="+mn-lt"/>
            </a:endParaRPr>
          </a:p>
        </p:txBody>
      </p:sp>
      <p:sp>
        <p:nvSpPr>
          <p:cNvPr id="119" name="Espace réservé du texte 2">
            <a:extLst>
              <a:ext uri="{FF2B5EF4-FFF2-40B4-BE49-F238E27FC236}">
                <a16:creationId xmlns:a16="http://schemas.microsoft.com/office/drawing/2014/main" id="{09846544-DD78-819D-469C-E7F0A7A6B247}"/>
              </a:ext>
            </a:extLst>
          </p:cNvPr>
          <p:cNvSpPr>
            <a:spLocks noGrp="1"/>
          </p:cNvSpPr>
          <p:nvPr>
            <p:custDataLst>
              <p:tags r:id="rId84"/>
            </p:custDataLst>
          </p:nvPr>
        </p:nvSpPr>
        <p:spPr bwMode="gray">
          <a:xfrm>
            <a:off x="4240213" y="2247766"/>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F155D699-CA78-4EF7-BF47-D52B6B92298D}" type="datetime'''''''''''''1'''''''''''''''''',9'''''''''''''''''''">
              <a:rPr lang="fr-FR" altLang="en-US" sz="700" smtClean="0">
                <a:latin typeface="+mn-lt"/>
              </a:rPr>
              <a:pPr/>
              <a:t>1,9</a:t>
            </a:fld>
            <a:endParaRPr lang="fr-FR" sz="700" noProof="0" dirty="0">
              <a:latin typeface="+mn-lt"/>
            </a:endParaRPr>
          </a:p>
        </p:txBody>
      </p:sp>
      <p:sp>
        <p:nvSpPr>
          <p:cNvPr id="109" name="Espace réservé du texte 2">
            <a:extLst>
              <a:ext uri="{FF2B5EF4-FFF2-40B4-BE49-F238E27FC236}">
                <a16:creationId xmlns:a16="http://schemas.microsoft.com/office/drawing/2014/main" id="{B255BACE-8960-62E6-254F-6E770010EDEB}"/>
              </a:ext>
            </a:extLst>
          </p:cNvPr>
          <p:cNvSpPr>
            <a:spLocks noGrp="1"/>
          </p:cNvSpPr>
          <p:nvPr>
            <p:custDataLst>
              <p:tags r:id="rId85"/>
            </p:custDataLst>
          </p:nvPr>
        </p:nvSpPr>
        <p:spPr bwMode="gray">
          <a:xfrm>
            <a:off x="4383088" y="2265229"/>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4CB4F960-01C9-4D67-AF2A-448B455B50D9}" type="datetime'''''''''1,''''''''''''9'''''''">
              <a:rPr lang="fr-FR" altLang="en-US" sz="700" smtClean="0">
                <a:latin typeface="+mn-lt"/>
              </a:rPr>
              <a:pPr/>
              <a:t>1,9</a:t>
            </a:fld>
            <a:endParaRPr lang="fr-FR" sz="700" noProof="0" dirty="0">
              <a:latin typeface="+mn-lt"/>
            </a:endParaRPr>
          </a:p>
        </p:txBody>
      </p:sp>
      <p:sp>
        <p:nvSpPr>
          <p:cNvPr id="124" name="Espace réservé du texte 2">
            <a:extLst>
              <a:ext uri="{FF2B5EF4-FFF2-40B4-BE49-F238E27FC236}">
                <a16:creationId xmlns:a16="http://schemas.microsoft.com/office/drawing/2014/main" id="{3A30EE19-0BC0-9CB3-02A9-F6FC08AD7750}"/>
              </a:ext>
            </a:extLst>
          </p:cNvPr>
          <p:cNvSpPr>
            <a:spLocks noGrp="1"/>
          </p:cNvSpPr>
          <p:nvPr>
            <p:custDataLst>
              <p:tags r:id="rId86"/>
            </p:custDataLst>
          </p:nvPr>
        </p:nvSpPr>
        <p:spPr bwMode="gray">
          <a:xfrm>
            <a:off x="4665663" y="2303329"/>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C341A6D3-4A64-4229-A9E4-8F63C717ED57}" type="datetime'''1'''''''''''''''''''''',''''''''''''''''''''''''8'''''''''">
              <a:rPr lang="fr-FR" altLang="en-US" sz="700" smtClean="0">
                <a:latin typeface="+mn-lt"/>
              </a:rPr>
              <a:pPr/>
              <a:t>1,8</a:t>
            </a:fld>
            <a:endParaRPr lang="fr-FR" sz="700" noProof="0" dirty="0">
              <a:latin typeface="+mn-lt"/>
            </a:endParaRPr>
          </a:p>
        </p:txBody>
      </p:sp>
      <p:sp>
        <p:nvSpPr>
          <p:cNvPr id="125" name="Espace réservé du texte 2">
            <a:extLst>
              <a:ext uri="{FF2B5EF4-FFF2-40B4-BE49-F238E27FC236}">
                <a16:creationId xmlns:a16="http://schemas.microsoft.com/office/drawing/2014/main" id="{9B40B8C5-CC78-ACFA-7593-D4D1FAE67DFD}"/>
              </a:ext>
            </a:extLst>
          </p:cNvPr>
          <p:cNvSpPr>
            <a:spLocks noGrp="1"/>
          </p:cNvSpPr>
          <p:nvPr>
            <p:custDataLst>
              <p:tags r:id="rId87"/>
            </p:custDataLst>
          </p:nvPr>
        </p:nvSpPr>
        <p:spPr bwMode="gray">
          <a:xfrm>
            <a:off x="4806950" y="2322379"/>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90A8E922-0146-46A7-9070-59E3B80C9F00}" type="datetime'''1'''''''''''''''''''',''''''''''''''8'''''''''''''''">
              <a:rPr lang="fr-FR" altLang="en-US" sz="700" smtClean="0">
                <a:latin typeface="+mn-lt"/>
              </a:rPr>
              <a:pPr/>
              <a:t>1,8</a:t>
            </a:fld>
            <a:endParaRPr lang="fr-FR" sz="700" noProof="0" dirty="0">
              <a:latin typeface="+mn-lt"/>
            </a:endParaRPr>
          </a:p>
        </p:txBody>
      </p:sp>
      <p:sp>
        <p:nvSpPr>
          <p:cNvPr id="32" name="Espace réservé du texte 2">
            <a:extLst>
              <a:ext uri="{FF2B5EF4-FFF2-40B4-BE49-F238E27FC236}">
                <a16:creationId xmlns:a16="http://schemas.microsoft.com/office/drawing/2014/main" id="{42069AD7-713F-2BDC-0388-9A9C9A53BB51}"/>
              </a:ext>
            </a:extLst>
          </p:cNvPr>
          <p:cNvSpPr>
            <a:spLocks noGrp="1"/>
          </p:cNvSpPr>
          <p:nvPr>
            <p:custDataLst>
              <p:tags r:id="rId88"/>
            </p:custDataLst>
          </p:nvPr>
        </p:nvSpPr>
        <p:spPr bwMode="gray">
          <a:xfrm>
            <a:off x="4948238" y="2339841"/>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E969F63D-252F-4FE4-AF46-8B008B0B6E29}" type="datetime'''1'''''''''''''',''''8'''''">
              <a:rPr lang="fr-FR" altLang="en-US" sz="700" smtClean="0">
                <a:latin typeface="+mn-lt"/>
              </a:rPr>
              <a:pPr/>
              <a:t>1,8</a:t>
            </a:fld>
            <a:endParaRPr lang="fr-FR" sz="700" noProof="0" dirty="0">
              <a:latin typeface="+mn-lt"/>
            </a:endParaRPr>
          </a:p>
        </p:txBody>
      </p:sp>
      <p:sp>
        <p:nvSpPr>
          <p:cNvPr id="34" name="Espace réservé du texte 2">
            <a:extLst>
              <a:ext uri="{FF2B5EF4-FFF2-40B4-BE49-F238E27FC236}">
                <a16:creationId xmlns:a16="http://schemas.microsoft.com/office/drawing/2014/main" id="{287560DD-7C77-0B63-CAC6-DCA7EE541469}"/>
              </a:ext>
            </a:extLst>
          </p:cNvPr>
          <p:cNvSpPr>
            <a:spLocks noGrp="1"/>
          </p:cNvSpPr>
          <p:nvPr>
            <p:custDataLst>
              <p:tags r:id="rId89"/>
            </p:custDataLst>
          </p:nvPr>
        </p:nvSpPr>
        <p:spPr bwMode="gray">
          <a:xfrm>
            <a:off x="5089525" y="2339841"/>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441C9BFA-28BE-4301-9863-0029B20A7548}" type="datetime'''''''''''''''''''''''''1'''''''''',8'''''''''''''''''''''">
              <a:rPr lang="fr-FR" altLang="en-US" sz="700" smtClean="0">
                <a:latin typeface="+mn-lt"/>
              </a:rPr>
              <a:pPr/>
              <a:t>1,8</a:t>
            </a:fld>
            <a:endParaRPr lang="fr-FR" sz="700" noProof="0" dirty="0">
              <a:latin typeface="+mn-lt"/>
            </a:endParaRPr>
          </a:p>
        </p:txBody>
      </p:sp>
      <p:sp>
        <p:nvSpPr>
          <p:cNvPr id="38" name="Espace réservé du texte 2">
            <a:extLst>
              <a:ext uri="{FF2B5EF4-FFF2-40B4-BE49-F238E27FC236}">
                <a16:creationId xmlns:a16="http://schemas.microsoft.com/office/drawing/2014/main" id="{197E0442-D75D-F551-694B-686AC6E9800A}"/>
              </a:ext>
            </a:extLst>
          </p:cNvPr>
          <p:cNvSpPr>
            <a:spLocks noGrp="1"/>
          </p:cNvSpPr>
          <p:nvPr>
            <p:custDataLst>
              <p:tags r:id="rId90"/>
            </p:custDataLst>
          </p:nvPr>
        </p:nvSpPr>
        <p:spPr bwMode="gray">
          <a:xfrm>
            <a:off x="5373688" y="2339841"/>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5A6F9165-85B3-4EED-AADB-CC3187EC41C9}" type="datetime'''''1'''''''''''',''''8'''''''''''''''''''">
              <a:rPr lang="fr-FR" altLang="en-US" sz="700" smtClean="0">
                <a:latin typeface="+mn-lt"/>
              </a:rPr>
              <a:pPr/>
              <a:t>1,8</a:t>
            </a:fld>
            <a:endParaRPr lang="fr-FR" sz="700" noProof="0" dirty="0">
              <a:latin typeface="+mn-lt"/>
            </a:endParaRPr>
          </a:p>
        </p:txBody>
      </p:sp>
      <p:sp>
        <p:nvSpPr>
          <p:cNvPr id="40" name="Espace réservé du texte 2">
            <a:extLst>
              <a:ext uri="{FF2B5EF4-FFF2-40B4-BE49-F238E27FC236}">
                <a16:creationId xmlns:a16="http://schemas.microsoft.com/office/drawing/2014/main" id="{AFFBC7E1-06CD-79C9-74E4-E1C8FC1DE0C5}"/>
              </a:ext>
            </a:extLst>
          </p:cNvPr>
          <p:cNvSpPr>
            <a:spLocks noGrp="1"/>
          </p:cNvSpPr>
          <p:nvPr>
            <p:custDataLst>
              <p:tags r:id="rId91"/>
            </p:custDataLst>
          </p:nvPr>
        </p:nvSpPr>
        <p:spPr bwMode="gray">
          <a:xfrm>
            <a:off x="5514975" y="2339841"/>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CB46D531-96FD-4835-A13D-36DBCD36C688}" type="datetime'''''''1'''''''''''''''''',''8'''''''''''''''''''''''''">
              <a:rPr lang="fr-FR" altLang="en-US" sz="700" smtClean="0">
                <a:latin typeface="+mn-lt"/>
              </a:rPr>
              <a:pPr/>
              <a:t>1,8</a:t>
            </a:fld>
            <a:endParaRPr lang="fr-FR" sz="700" noProof="0" dirty="0">
              <a:latin typeface="+mn-lt"/>
            </a:endParaRPr>
          </a:p>
        </p:txBody>
      </p:sp>
      <p:sp>
        <p:nvSpPr>
          <p:cNvPr id="42" name="Espace réservé du texte 2">
            <a:extLst>
              <a:ext uri="{FF2B5EF4-FFF2-40B4-BE49-F238E27FC236}">
                <a16:creationId xmlns:a16="http://schemas.microsoft.com/office/drawing/2014/main" id="{4AAFEAEC-E0A8-DADA-03CC-AC23D9FB1DDD}"/>
              </a:ext>
            </a:extLst>
          </p:cNvPr>
          <p:cNvSpPr>
            <a:spLocks noGrp="1"/>
          </p:cNvSpPr>
          <p:nvPr>
            <p:custDataLst>
              <p:tags r:id="rId92"/>
            </p:custDataLst>
          </p:nvPr>
        </p:nvSpPr>
        <p:spPr bwMode="gray">
          <a:xfrm>
            <a:off x="5656263" y="2339841"/>
            <a:ext cx="136525" cy="1063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numCol="1" spcCol="0" rtlCol="0" anchor="b"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ctr">
              <a:spcBef>
                <a:spcPct val="0"/>
              </a:spcBef>
              <a:spcAft>
                <a:spcPct val="0"/>
              </a:spcAft>
            </a:pPr>
            <a:fld id="{C83E0918-33C0-4F8D-B4B2-7188AF7B6023}" type="datetime'1'''''''''''''',8'''''''''''''''''''''''''''''''''''''">
              <a:rPr lang="fr-FR" altLang="en-US" sz="700" smtClean="0">
                <a:latin typeface="+mn-lt"/>
              </a:rPr>
              <a:pPr/>
              <a:t>1,8</a:t>
            </a:fld>
            <a:endParaRPr lang="fr-FR" sz="700" noProof="0" dirty="0">
              <a:latin typeface="+mn-lt"/>
            </a:endParaRPr>
          </a:p>
        </p:txBody>
      </p:sp>
      <p:sp>
        <p:nvSpPr>
          <p:cNvPr id="112" name="Espace réservé du contenu 11">
            <a:extLst>
              <a:ext uri="{FF2B5EF4-FFF2-40B4-BE49-F238E27FC236}">
                <a16:creationId xmlns:a16="http://schemas.microsoft.com/office/drawing/2014/main" id="{0F528236-3D6F-4FB5-9546-F32A01A221BC}"/>
              </a:ext>
            </a:extLst>
          </p:cNvPr>
          <p:cNvSpPr txBox="1">
            <a:spLocks/>
          </p:cNvSpPr>
          <p:nvPr/>
        </p:nvSpPr>
        <p:spPr bwMode="gray">
          <a:xfrm>
            <a:off x="1562551" y="165192"/>
            <a:ext cx="8460474" cy="50405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itchFamily="34" charset="0"/>
              <a:buNone/>
              <a:defRPr sz="1050" b="0" kern="1200">
                <a:solidFill>
                  <a:schemeClr val="tx1"/>
                </a:solidFill>
                <a:latin typeface="+mn-lt"/>
                <a:ea typeface="+mn-ea"/>
                <a:cs typeface="+mn-cs"/>
              </a:defRPr>
            </a:lvl1pPr>
            <a:lvl2pPr marL="179996" indent="0" algn="l" defTabSz="914400" rtl="0" eaLnBrk="1" latinLnBrk="0" hangingPunct="1">
              <a:lnSpc>
                <a:spcPct val="100000"/>
              </a:lnSpc>
              <a:spcBef>
                <a:spcPts val="600"/>
              </a:spcBef>
              <a:spcAft>
                <a:spcPts val="600"/>
              </a:spcAft>
              <a:buFont typeface="Arial" pitchFamily="34" charset="0"/>
              <a:buNone/>
              <a:defRPr sz="950" kern="1200">
                <a:solidFill>
                  <a:schemeClr val="tx1"/>
                </a:solidFill>
                <a:latin typeface="+mn-lt"/>
                <a:ea typeface="+mn-ea"/>
                <a:cs typeface="+mn-cs"/>
              </a:defRPr>
            </a:lvl2pPr>
            <a:lvl3pPr marL="432000" indent="-72000" algn="l" defTabSz="914400" rtl="0" eaLnBrk="1" latinLnBrk="0" hangingPunct="1">
              <a:lnSpc>
                <a:spcPct val="100000"/>
              </a:lnSpc>
              <a:spcBef>
                <a:spcPts val="100"/>
              </a:spcBef>
              <a:spcAft>
                <a:spcPts val="100"/>
              </a:spcAft>
              <a:buSzPct val="100000"/>
              <a:buFont typeface="Arial" pitchFamily="34" charset="0"/>
              <a:buChar char="•"/>
              <a:defRPr sz="850" kern="1200" baseline="0">
                <a:solidFill>
                  <a:schemeClr val="tx1"/>
                </a:solidFill>
                <a:latin typeface="+mn-lt"/>
                <a:ea typeface="+mn-ea"/>
                <a:cs typeface="+mn-cs"/>
              </a:defRPr>
            </a:lvl3pPr>
            <a:lvl4pPr marL="612000" indent="-72000" algn="l" defTabSz="914400"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8000" indent="-72000" algn="l" defTabSz="914400"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400" b="1" dirty="0" err="1"/>
              <a:t>France’s</a:t>
            </a:r>
            <a:r>
              <a:rPr lang="fr-FR" sz="2400" b="1" dirty="0"/>
              <a:t> </a:t>
            </a:r>
            <a:r>
              <a:rPr lang="fr-FR" sz="2400" b="1" dirty="0" err="1"/>
              <a:t>ecological</a:t>
            </a:r>
            <a:r>
              <a:rPr lang="fr-FR" sz="2400" b="1" dirty="0"/>
              <a:t> planning </a:t>
            </a:r>
            <a:r>
              <a:rPr lang="fr-FR" sz="2400" b="1" dirty="0" err="1"/>
              <a:t>with</a:t>
            </a:r>
            <a:r>
              <a:rPr lang="fr-FR" sz="2400" b="1" dirty="0"/>
              <a:t> regard to </a:t>
            </a:r>
            <a:r>
              <a:rPr lang="fr-FR" sz="2400" b="1" dirty="0" err="1"/>
              <a:t>EVs</a:t>
            </a:r>
            <a:endParaRPr lang="fr-FR" sz="2400" b="1" dirty="0"/>
          </a:p>
        </p:txBody>
      </p:sp>
      <p:sp>
        <p:nvSpPr>
          <p:cNvPr id="116" name="Espace réservé du pied de page 2">
            <a:extLst>
              <a:ext uri="{FF2B5EF4-FFF2-40B4-BE49-F238E27FC236}">
                <a16:creationId xmlns:a16="http://schemas.microsoft.com/office/drawing/2014/main" id="{15C64A17-3D7D-46D7-AEFB-933E0A69AF99}"/>
              </a:ext>
            </a:extLst>
          </p:cNvPr>
          <p:cNvSpPr>
            <a:spLocks noGrp="1"/>
          </p:cNvSpPr>
          <p:nvPr>
            <p:ph type="ftr" sz="quarter" idx="11"/>
          </p:nvPr>
        </p:nvSpPr>
        <p:spPr>
          <a:xfrm>
            <a:off x="360000" y="4783500"/>
            <a:ext cx="5904000" cy="360000"/>
          </a:xfrm>
        </p:spPr>
        <p:txBody>
          <a:bodyPr/>
          <a:lstStyle/>
          <a:p>
            <a:r>
              <a:rPr lang="fr-FR" dirty="0"/>
              <a:t>Direction générale de l’énergie et du climat</a:t>
            </a:r>
          </a:p>
        </p:txBody>
      </p:sp>
    </p:spTree>
    <p:extLst>
      <p:ext uri="{BB962C8B-B14F-4D97-AF65-F5344CB8AC3E}">
        <p14:creationId xmlns:p14="http://schemas.microsoft.com/office/powerpoint/2010/main" val="27061830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Espace réservé du numéro de diapositive 9"/>
          <p:cNvSpPr>
            <a:spLocks noGrp="1"/>
          </p:cNvSpPr>
          <p:nvPr>
            <p:ph type="sldNum" sz="quarter" idx="12"/>
          </p:nvPr>
        </p:nvSpPr>
        <p:spPr/>
        <p:txBody>
          <a:bodyPr/>
          <a:lstStyle/>
          <a:p>
            <a:fld id="{733122C9-A0B9-462F-8757-0847AD287B63}" type="slidenum">
              <a:rPr lang="fr-FR" smtClean="0">
                <a:solidFill>
                  <a:srgbClr val="000000"/>
                </a:solidFill>
              </a:rPr>
              <a:pPr/>
              <a:t>6</a:t>
            </a:fld>
            <a:endParaRPr lang="fr-FR" dirty="0">
              <a:solidFill>
                <a:srgbClr val="000000"/>
              </a:solidFill>
            </a:endParaRPr>
          </a:p>
        </p:txBody>
      </p:sp>
      <p:sp>
        <p:nvSpPr>
          <p:cNvPr id="197" name="Espace réservé du texte 2">
            <a:extLst>
              <a:ext uri="{FF2B5EF4-FFF2-40B4-BE49-F238E27FC236}">
                <a16:creationId xmlns:a16="http://schemas.microsoft.com/office/drawing/2014/main" id="{7D79D50C-12F5-DD91-3AD4-D6F1FD5FC670}"/>
              </a:ext>
            </a:extLst>
          </p:cNvPr>
          <p:cNvSpPr>
            <a:spLocks noGrp="1"/>
          </p:cNvSpPr>
          <p:nvPr>
            <p:custDataLst>
              <p:tags r:id="rId1"/>
            </p:custDataLst>
          </p:nvPr>
        </p:nvSpPr>
        <p:spPr bwMode="auto">
          <a:xfrm>
            <a:off x="8777885" y="2820987"/>
            <a:ext cx="2190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r">
              <a:spcBef>
                <a:spcPct val="0"/>
              </a:spcBef>
              <a:spcAft>
                <a:spcPct val="0"/>
              </a:spcAft>
            </a:pPr>
            <a:endParaRPr lang="fr-FR" sz="1000" dirty="0">
              <a:solidFill>
                <a:srgbClr val="000000"/>
              </a:solidFill>
              <a:latin typeface="Marianne"/>
            </a:endParaRPr>
          </a:p>
        </p:txBody>
      </p:sp>
      <p:sp>
        <p:nvSpPr>
          <p:cNvPr id="202" name="Espace réservé du texte 2">
            <a:extLst>
              <a:ext uri="{FF2B5EF4-FFF2-40B4-BE49-F238E27FC236}">
                <a16:creationId xmlns:a16="http://schemas.microsoft.com/office/drawing/2014/main" id="{D0374C82-3853-026A-A31A-B24545308A80}"/>
              </a:ext>
            </a:extLst>
          </p:cNvPr>
          <p:cNvSpPr>
            <a:spLocks noGrp="1"/>
          </p:cNvSpPr>
          <p:nvPr>
            <p:custDataLst>
              <p:tags r:id="rId2"/>
            </p:custDataLst>
          </p:nvPr>
        </p:nvSpPr>
        <p:spPr bwMode="auto">
          <a:xfrm>
            <a:off x="8863610" y="2617787"/>
            <a:ext cx="133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r">
              <a:spcBef>
                <a:spcPct val="0"/>
              </a:spcBef>
              <a:spcAft>
                <a:spcPct val="0"/>
              </a:spcAft>
            </a:pPr>
            <a:endParaRPr lang="fr-FR" sz="1000" dirty="0">
              <a:solidFill>
                <a:srgbClr val="000000"/>
              </a:solidFill>
              <a:latin typeface="Marianne"/>
            </a:endParaRPr>
          </a:p>
        </p:txBody>
      </p:sp>
      <p:sp>
        <p:nvSpPr>
          <p:cNvPr id="204" name="Espace réservé du texte 2">
            <a:extLst>
              <a:ext uri="{FF2B5EF4-FFF2-40B4-BE49-F238E27FC236}">
                <a16:creationId xmlns:a16="http://schemas.microsoft.com/office/drawing/2014/main" id="{C6EBFCD5-5EA0-882A-A4D3-2FC721FE3342}"/>
              </a:ext>
            </a:extLst>
          </p:cNvPr>
          <p:cNvSpPr>
            <a:spLocks noGrp="1"/>
          </p:cNvSpPr>
          <p:nvPr>
            <p:custDataLst>
              <p:tags r:id="rId3"/>
            </p:custDataLst>
          </p:nvPr>
        </p:nvSpPr>
        <p:spPr bwMode="auto">
          <a:xfrm>
            <a:off x="8863610" y="3549650"/>
            <a:ext cx="1333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92075" indent="0" algn="l" defTabSz="914400" rtl="0" eaLnBrk="1" latinLnBrk="0" hangingPunct="1">
              <a:lnSpc>
                <a:spcPct val="100000"/>
              </a:lnSpc>
              <a:spcBef>
                <a:spcPts val="0"/>
              </a:spcBef>
              <a:spcAft>
                <a:spcPts val="500"/>
              </a:spcAft>
              <a:buFont typeface="Arial" pitchFamily="34" charset="0"/>
              <a:buNone/>
              <a:tabLst/>
              <a:defRPr sz="1400" b="0" kern="1200">
                <a:solidFill>
                  <a:schemeClr val="tx1"/>
                </a:solidFill>
                <a:latin typeface="Marianne" panose="02000000000000000000" pitchFamily="2" charset="0"/>
                <a:ea typeface="+mn-ea"/>
                <a:cs typeface="+mn-cs"/>
              </a:defRPr>
            </a:lvl1pPr>
            <a:lvl2pPr marL="351450" indent="-171450" algn="l" defTabSz="914400" rtl="0" eaLnBrk="1" latinLnBrk="0" hangingPunct="1">
              <a:lnSpc>
                <a:spcPct val="100000"/>
              </a:lnSpc>
              <a:spcBef>
                <a:spcPts val="600"/>
              </a:spcBef>
              <a:spcAft>
                <a:spcPts val="600"/>
              </a:spcAft>
              <a:buSzPct val="100000"/>
              <a:buFont typeface="Arial" panose="020B0604020202020204" pitchFamily="34" charset="0"/>
              <a:buChar char="•"/>
              <a:defRPr sz="1200" kern="1200">
                <a:solidFill>
                  <a:schemeClr val="tx1"/>
                </a:solidFill>
                <a:latin typeface="Marianne" panose="02000000000000000000" pitchFamily="2" charset="0"/>
                <a:ea typeface="+mn-ea"/>
                <a:cs typeface="+mn-cs"/>
              </a:defRPr>
            </a:lvl2pPr>
            <a:lvl3pPr marL="531450" indent="-171450" algn="l" defTabSz="914400" rtl="0" eaLnBrk="1" latinLnBrk="0" hangingPunct="1">
              <a:lnSpc>
                <a:spcPct val="100000"/>
              </a:lnSpc>
              <a:spcBef>
                <a:spcPts val="100"/>
              </a:spcBef>
              <a:spcAft>
                <a:spcPts val="100"/>
              </a:spcAft>
              <a:buSzPct val="100000"/>
              <a:buFont typeface="Wingdings" pitchFamily="2" charset="2"/>
              <a:buChar char="§"/>
              <a:defRPr sz="1000" kern="1200">
                <a:solidFill>
                  <a:schemeClr val="tx1"/>
                </a:solidFill>
                <a:latin typeface="Marianne" panose="02000000000000000000" pitchFamily="2" charset="0"/>
                <a:ea typeface="+mn-ea"/>
                <a:cs typeface="+mn-cs"/>
              </a:defRPr>
            </a:lvl3pPr>
            <a:lvl4pPr marL="711450" indent="-171450" algn="l" defTabSz="914400" rtl="0" eaLnBrk="1" latinLnBrk="0" hangingPunct="1">
              <a:lnSpc>
                <a:spcPct val="100000"/>
              </a:lnSpc>
              <a:spcBef>
                <a:spcPts val="100"/>
              </a:spcBef>
              <a:spcAft>
                <a:spcPts val="100"/>
              </a:spcAft>
              <a:buSzPct val="100000"/>
              <a:buFont typeface="Arial" panose="020B0604020202020204" pitchFamily="34" charset="0"/>
              <a:buChar char="•"/>
              <a:defRPr sz="800" kern="1200">
                <a:solidFill>
                  <a:schemeClr val="tx1"/>
                </a:solidFill>
                <a:latin typeface="Marianne" panose="02000000000000000000" pitchFamily="2" charset="0"/>
                <a:ea typeface="+mn-ea"/>
                <a:cs typeface="+mn-cs"/>
              </a:defRPr>
            </a:lvl4pPr>
            <a:lvl5pPr marL="927450" indent="-171450" algn="l" defTabSz="914400" rtl="0" eaLnBrk="1" latinLnBrk="0" hangingPunct="1">
              <a:lnSpc>
                <a:spcPct val="100000"/>
              </a:lnSpc>
              <a:spcBef>
                <a:spcPts val="100"/>
              </a:spcBef>
              <a:spcAft>
                <a:spcPts val="100"/>
              </a:spcAft>
              <a:buSzPct val="100000"/>
              <a:buFont typeface="Wingdings" pitchFamily="2" charset="2"/>
              <a:buChar char="§"/>
              <a:defRPr sz="700" kern="1200">
                <a:solidFill>
                  <a:schemeClr val="tx1"/>
                </a:solidFill>
                <a:latin typeface="Marianne" panose="02000000000000000000"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200400" indent="0" algn="l" defTabSz="914400" rtl="0" eaLnBrk="1" latinLnBrk="0" hangingPunct="1">
              <a:spcBef>
                <a:spcPct val="20000"/>
              </a:spcBef>
              <a:buFont typeface="Arial" pitchFamily="34" charset="0"/>
              <a:buNone/>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algn="r">
              <a:spcBef>
                <a:spcPct val="0"/>
              </a:spcBef>
              <a:spcAft>
                <a:spcPct val="0"/>
              </a:spcAft>
            </a:pPr>
            <a:endParaRPr lang="fr-FR" sz="1000" dirty="0">
              <a:solidFill>
                <a:srgbClr val="000000"/>
              </a:solidFill>
              <a:latin typeface="Marianne"/>
            </a:endParaRPr>
          </a:p>
        </p:txBody>
      </p:sp>
      <p:sp>
        <p:nvSpPr>
          <p:cNvPr id="95" name="Espace réservé du contenu 11"/>
          <p:cNvSpPr txBox="1">
            <a:spLocks/>
          </p:cNvSpPr>
          <p:nvPr/>
        </p:nvSpPr>
        <p:spPr bwMode="gray">
          <a:xfrm>
            <a:off x="212122" y="982927"/>
            <a:ext cx="4554168" cy="374441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itchFamily="34" charset="0"/>
              <a:buNone/>
              <a:defRPr sz="1050" b="0" kern="1200">
                <a:solidFill>
                  <a:schemeClr val="tx1"/>
                </a:solidFill>
                <a:latin typeface="+mn-lt"/>
                <a:ea typeface="+mn-ea"/>
                <a:cs typeface="+mn-cs"/>
              </a:defRPr>
            </a:lvl1pPr>
            <a:lvl2pPr marL="179996" indent="0" algn="l" defTabSz="914400" rtl="0" eaLnBrk="1" latinLnBrk="0" hangingPunct="1">
              <a:lnSpc>
                <a:spcPct val="100000"/>
              </a:lnSpc>
              <a:spcBef>
                <a:spcPts val="600"/>
              </a:spcBef>
              <a:spcAft>
                <a:spcPts val="600"/>
              </a:spcAft>
              <a:buFont typeface="Arial" pitchFamily="34" charset="0"/>
              <a:buNone/>
              <a:defRPr sz="950" kern="1200">
                <a:solidFill>
                  <a:schemeClr val="tx1"/>
                </a:solidFill>
                <a:latin typeface="+mn-lt"/>
                <a:ea typeface="+mn-ea"/>
                <a:cs typeface="+mn-cs"/>
              </a:defRPr>
            </a:lvl2pPr>
            <a:lvl3pPr marL="432000" indent="-72000" algn="l" defTabSz="914400" rtl="0" eaLnBrk="1" latinLnBrk="0" hangingPunct="1">
              <a:lnSpc>
                <a:spcPct val="100000"/>
              </a:lnSpc>
              <a:spcBef>
                <a:spcPts val="100"/>
              </a:spcBef>
              <a:spcAft>
                <a:spcPts val="100"/>
              </a:spcAft>
              <a:buSzPct val="100000"/>
              <a:buFont typeface="Arial" pitchFamily="34" charset="0"/>
              <a:buChar char="•"/>
              <a:defRPr sz="850" kern="1200" baseline="0">
                <a:solidFill>
                  <a:schemeClr val="tx1"/>
                </a:solidFill>
                <a:latin typeface="+mn-lt"/>
                <a:ea typeface="+mn-ea"/>
                <a:cs typeface="+mn-cs"/>
              </a:defRPr>
            </a:lvl3pPr>
            <a:lvl4pPr marL="612000" indent="-72000" algn="l" defTabSz="914400"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8000" indent="-72000" algn="l" defTabSz="914400"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algn="just">
              <a:spcAft>
                <a:spcPts val="0"/>
              </a:spcAft>
            </a:pPr>
            <a:r>
              <a:rPr lang="en-US" sz="1200" dirty="0"/>
              <a:t>Less than 1% market share in sales in 2023 but notable progress compared to previous years.</a:t>
            </a:r>
          </a:p>
          <a:p>
            <a:pPr marL="0" lvl="1" algn="just">
              <a:spcAft>
                <a:spcPts val="0"/>
              </a:spcAft>
            </a:pPr>
            <a:endParaRPr lang="en-US" sz="1200" dirty="0"/>
          </a:p>
          <a:p>
            <a:pPr marL="0" lvl="1" algn="just">
              <a:spcAft>
                <a:spcPts val="0"/>
              </a:spcAft>
            </a:pPr>
            <a:r>
              <a:rPr lang="en-US" sz="1200" dirty="0"/>
              <a:t>Historic and projected share of fully electric HDVs in sales:</a:t>
            </a:r>
            <a:endParaRPr lang="fr-FR" sz="1200" dirty="0"/>
          </a:p>
        </p:txBody>
      </p:sp>
      <p:pic>
        <p:nvPicPr>
          <p:cNvPr id="3" name="Image 2"/>
          <p:cNvPicPr>
            <a:picLocks noChangeAspect="1"/>
          </p:cNvPicPr>
          <p:nvPr/>
        </p:nvPicPr>
        <p:blipFill rotWithShape="1">
          <a:blip r:embed="rId5">
            <a:extLst>
              <a:ext uri="{28A0092B-C50C-407E-A947-70E740481C1C}">
                <a14:useLocalDpi xmlns:a14="http://schemas.microsoft.com/office/drawing/2010/main" val="0"/>
              </a:ext>
            </a:extLst>
          </a:blip>
          <a:srcRect t="28987"/>
          <a:stretch/>
        </p:blipFill>
        <p:spPr>
          <a:xfrm>
            <a:off x="274274" y="2499742"/>
            <a:ext cx="4398273" cy="2116854"/>
          </a:xfrm>
          <a:prstGeom prst="rect">
            <a:avLst/>
          </a:prstGeom>
        </p:spPr>
      </p:pic>
      <p:sp>
        <p:nvSpPr>
          <p:cNvPr id="18" name="Espace réservé du contenu 11"/>
          <p:cNvSpPr txBox="1">
            <a:spLocks/>
          </p:cNvSpPr>
          <p:nvPr/>
        </p:nvSpPr>
        <p:spPr bwMode="gray">
          <a:xfrm>
            <a:off x="4860032" y="987574"/>
            <a:ext cx="3917853" cy="379592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itchFamily="34" charset="0"/>
              <a:buNone/>
              <a:defRPr sz="1050" b="0" kern="1200">
                <a:solidFill>
                  <a:schemeClr val="tx1"/>
                </a:solidFill>
                <a:latin typeface="+mn-lt"/>
                <a:ea typeface="+mn-ea"/>
                <a:cs typeface="+mn-cs"/>
              </a:defRPr>
            </a:lvl1pPr>
            <a:lvl2pPr marL="179996" indent="0" algn="l" defTabSz="914400" rtl="0" eaLnBrk="1" latinLnBrk="0" hangingPunct="1">
              <a:lnSpc>
                <a:spcPct val="100000"/>
              </a:lnSpc>
              <a:spcBef>
                <a:spcPts val="600"/>
              </a:spcBef>
              <a:spcAft>
                <a:spcPts val="600"/>
              </a:spcAft>
              <a:buFont typeface="Arial" pitchFamily="34" charset="0"/>
              <a:buNone/>
              <a:defRPr sz="950" kern="1200">
                <a:solidFill>
                  <a:schemeClr val="tx1"/>
                </a:solidFill>
                <a:latin typeface="+mn-lt"/>
                <a:ea typeface="+mn-ea"/>
                <a:cs typeface="+mn-cs"/>
              </a:defRPr>
            </a:lvl2pPr>
            <a:lvl3pPr marL="432000" indent="-72000" algn="l" defTabSz="914400" rtl="0" eaLnBrk="1" latinLnBrk="0" hangingPunct="1">
              <a:lnSpc>
                <a:spcPct val="100000"/>
              </a:lnSpc>
              <a:spcBef>
                <a:spcPts val="100"/>
              </a:spcBef>
              <a:spcAft>
                <a:spcPts val="100"/>
              </a:spcAft>
              <a:buSzPct val="100000"/>
              <a:buFont typeface="Arial" pitchFamily="34" charset="0"/>
              <a:buChar char="•"/>
              <a:defRPr sz="850" kern="1200" baseline="0">
                <a:solidFill>
                  <a:schemeClr val="tx1"/>
                </a:solidFill>
                <a:latin typeface="+mn-lt"/>
                <a:ea typeface="+mn-ea"/>
                <a:cs typeface="+mn-cs"/>
              </a:defRPr>
            </a:lvl3pPr>
            <a:lvl4pPr marL="612000" indent="-72000" algn="l" defTabSz="914400"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8000" indent="-72000" algn="l" defTabSz="914400"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algn="just">
              <a:spcAft>
                <a:spcPts val="0"/>
              </a:spcAft>
            </a:pPr>
            <a:endParaRPr lang="fr-FR" sz="1200" dirty="0"/>
          </a:p>
          <a:p>
            <a:pPr marL="0" lvl="1" algn="just">
              <a:spcAft>
                <a:spcPts val="0"/>
              </a:spcAft>
            </a:pPr>
            <a:endParaRPr lang="fr-FR" sz="1200" dirty="0"/>
          </a:p>
          <a:p>
            <a:pPr marL="0" lvl="1" algn="just">
              <a:spcAft>
                <a:spcPts val="0"/>
              </a:spcAft>
            </a:pPr>
            <a:endParaRPr lang="fr-FR" sz="1200" dirty="0"/>
          </a:p>
          <a:p>
            <a:pPr marL="0" lvl="1" algn="just">
              <a:spcAft>
                <a:spcPts val="0"/>
              </a:spcAft>
            </a:pPr>
            <a:endParaRPr lang="fr-FR" sz="1200" dirty="0"/>
          </a:p>
          <a:p>
            <a:pPr marL="0" lvl="1" algn="just">
              <a:spcAft>
                <a:spcPts val="0"/>
              </a:spcAft>
            </a:pPr>
            <a:endParaRPr lang="fr-FR" sz="1200" dirty="0"/>
          </a:p>
          <a:p>
            <a:pPr marL="0" lvl="1" algn="just">
              <a:spcAft>
                <a:spcPts val="0"/>
              </a:spcAft>
            </a:pPr>
            <a:endParaRPr lang="fr-FR" sz="1200" dirty="0"/>
          </a:p>
          <a:p>
            <a:pPr marL="0" lvl="1" algn="just">
              <a:spcAft>
                <a:spcPts val="0"/>
              </a:spcAft>
            </a:pPr>
            <a:endParaRPr lang="fr-FR" sz="1200" dirty="0"/>
          </a:p>
          <a:p>
            <a:pPr marL="0" lvl="1" algn="just">
              <a:spcAft>
                <a:spcPts val="0"/>
              </a:spcAft>
            </a:pPr>
            <a:endParaRPr lang="fr-FR" sz="1200" dirty="0"/>
          </a:p>
          <a:p>
            <a:pPr marL="0" lvl="1" algn="just">
              <a:spcAft>
                <a:spcPts val="0"/>
              </a:spcAft>
            </a:pPr>
            <a:endParaRPr lang="fr-FR" sz="1200" dirty="0"/>
          </a:p>
          <a:p>
            <a:pPr marL="0" lvl="1" algn="just">
              <a:spcAft>
                <a:spcPts val="0"/>
              </a:spcAft>
            </a:pPr>
            <a:endParaRPr lang="fr-FR" sz="1200" dirty="0"/>
          </a:p>
          <a:p>
            <a:pPr marL="0" lvl="1" algn="just">
              <a:spcAft>
                <a:spcPts val="0"/>
              </a:spcAft>
            </a:pPr>
            <a:endParaRPr lang="fr-FR" sz="1200" dirty="0"/>
          </a:p>
          <a:p>
            <a:pPr marL="0" lvl="1" algn="just">
              <a:spcBef>
                <a:spcPts val="0"/>
              </a:spcBef>
              <a:spcAft>
                <a:spcPts val="0"/>
              </a:spcAft>
            </a:pPr>
            <a:r>
              <a:rPr lang="en-US" sz="1200" dirty="0"/>
              <a:t>HDV electrification is lagging far behind light vehicles, mainly because of issues related to the sector’s specific needs (range, charging, costs structures).</a:t>
            </a:r>
            <a:endParaRPr lang="fr-FR" sz="1200" dirty="0"/>
          </a:p>
        </p:txBody>
      </p:sp>
      <p:graphicFrame>
        <p:nvGraphicFramePr>
          <p:cNvPr id="19" name="Graphique 18"/>
          <p:cNvGraphicFramePr>
            <a:graphicFrameLocks/>
          </p:cNvGraphicFramePr>
          <p:nvPr/>
        </p:nvGraphicFramePr>
        <p:xfrm>
          <a:off x="4860032" y="1330398"/>
          <a:ext cx="3917853" cy="2393480"/>
        </p:xfrm>
        <a:graphic>
          <a:graphicData uri="http://schemas.openxmlformats.org/drawingml/2006/chart">
            <c:chart xmlns:c="http://schemas.openxmlformats.org/drawingml/2006/chart" xmlns:r="http://schemas.openxmlformats.org/officeDocument/2006/relationships" r:id="rId6"/>
          </a:graphicData>
        </a:graphic>
      </p:graphicFrame>
      <p:sp>
        <p:nvSpPr>
          <p:cNvPr id="11" name="Espace réservé du contenu 11">
            <a:extLst>
              <a:ext uri="{FF2B5EF4-FFF2-40B4-BE49-F238E27FC236}">
                <a16:creationId xmlns:a16="http://schemas.microsoft.com/office/drawing/2014/main" id="{56534207-2A30-4C27-80B3-9D691F4375DE}"/>
              </a:ext>
            </a:extLst>
          </p:cNvPr>
          <p:cNvSpPr txBox="1">
            <a:spLocks/>
          </p:cNvSpPr>
          <p:nvPr/>
        </p:nvSpPr>
        <p:spPr bwMode="gray">
          <a:xfrm>
            <a:off x="1835696" y="274876"/>
            <a:ext cx="8460474" cy="504056"/>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spcAft>
                <a:spcPts val="0"/>
              </a:spcAft>
              <a:buFont typeface="Arial" pitchFamily="34" charset="0"/>
              <a:buNone/>
              <a:defRPr sz="1050" b="0" kern="1200">
                <a:solidFill>
                  <a:schemeClr val="tx1"/>
                </a:solidFill>
                <a:latin typeface="+mn-lt"/>
                <a:ea typeface="+mn-ea"/>
                <a:cs typeface="+mn-cs"/>
              </a:defRPr>
            </a:lvl1pPr>
            <a:lvl2pPr marL="179996" indent="0" algn="l" defTabSz="914400" rtl="0" eaLnBrk="1" latinLnBrk="0" hangingPunct="1">
              <a:lnSpc>
                <a:spcPct val="100000"/>
              </a:lnSpc>
              <a:spcBef>
                <a:spcPts val="600"/>
              </a:spcBef>
              <a:spcAft>
                <a:spcPts val="600"/>
              </a:spcAft>
              <a:buFont typeface="Arial" pitchFamily="34" charset="0"/>
              <a:buNone/>
              <a:defRPr sz="950" kern="1200">
                <a:solidFill>
                  <a:schemeClr val="tx1"/>
                </a:solidFill>
                <a:latin typeface="+mn-lt"/>
                <a:ea typeface="+mn-ea"/>
                <a:cs typeface="+mn-cs"/>
              </a:defRPr>
            </a:lvl2pPr>
            <a:lvl3pPr marL="432000" indent="-72000" algn="l" defTabSz="914400" rtl="0" eaLnBrk="1" latinLnBrk="0" hangingPunct="1">
              <a:lnSpc>
                <a:spcPct val="100000"/>
              </a:lnSpc>
              <a:spcBef>
                <a:spcPts val="100"/>
              </a:spcBef>
              <a:spcAft>
                <a:spcPts val="100"/>
              </a:spcAft>
              <a:buSzPct val="100000"/>
              <a:buFont typeface="Arial" pitchFamily="34" charset="0"/>
              <a:buChar char="•"/>
              <a:defRPr sz="850" kern="1200" baseline="0">
                <a:solidFill>
                  <a:schemeClr val="tx1"/>
                </a:solidFill>
                <a:latin typeface="+mn-lt"/>
                <a:ea typeface="+mn-ea"/>
                <a:cs typeface="+mn-cs"/>
              </a:defRPr>
            </a:lvl3pPr>
            <a:lvl4pPr marL="612000" indent="-72000" algn="l" defTabSz="914400" rtl="0" eaLnBrk="1" latinLnBrk="0" hangingPunct="1">
              <a:lnSpc>
                <a:spcPct val="100000"/>
              </a:lnSpc>
              <a:spcBef>
                <a:spcPts val="100"/>
              </a:spcBef>
              <a:spcAft>
                <a:spcPts val="100"/>
              </a:spcAft>
              <a:buSzPct val="100000"/>
              <a:buFont typeface="Arial" pitchFamily="34" charset="0"/>
              <a:buChar char="•"/>
              <a:defRPr sz="750" kern="1200">
                <a:solidFill>
                  <a:schemeClr val="tx1"/>
                </a:solidFill>
                <a:latin typeface="+mn-lt"/>
                <a:ea typeface="+mn-ea"/>
                <a:cs typeface="+mn-cs"/>
              </a:defRPr>
            </a:lvl4pPr>
            <a:lvl5pPr marL="828000" indent="-72000" algn="l" defTabSz="914400" rtl="0" eaLnBrk="1" latinLnBrk="0" hangingPunct="1">
              <a:lnSpc>
                <a:spcPct val="100000"/>
              </a:lnSpc>
              <a:spcBef>
                <a:spcPts val="100"/>
              </a:spcBef>
              <a:spcAft>
                <a:spcPts val="100"/>
              </a:spcAft>
              <a:buSzPct val="100000"/>
              <a:buFont typeface="Arial" pitchFamily="34" charset="0"/>
              <a:buChar char="•"/>
              <a:defRPr sz="7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2400" b="1" dirty="0"/>
              <a:t>Electrification of </a:t>
            </a:r>
            <a:r>
              <a:rPr lang="fr-FR" sz="2400" b="1" dirty="0" err="1"/>
              <a:t>heavy</a:t>
            </a:r>
            <a:r>
              <a:rPr lang="fr-FR" sz="2400" b="1" dirty="0"/>
              <a:t> </a:t>
            </a:r>
            <a:r>
              <a:rPr lang="fr-FR" sz="2400" b="1" dirty="0" err="1"/>
              <a:t>duty</a:t>
            </a:r>
            <a:r>
              <a:rPr lang="fr-FR" sz="2400" b="1" dirty="0"/>
              <a:t> </a:t>
            </a:r>
            <a:r>
              <a:rPr lang="fr-FR" sz="2400" b="1" dirty="0" err="1"/>
              <a:t>vehicles</a:t>
            </a:r>
            <a:endParaRPr lang="fr-FR" sz="2400" b="1" dirty="0"/>
          </a:p>
        </p:txBody>
      </p:sp>
      <p:sp>
        <p:nvSpPr>
          <p:cNvPr id="12" name="ZoneTexte 11">
            <a:extLst>
              <a:ext uri="{FF2B5EF4-FFF2-40B4-BE49-F238E27FC236}">
                <a16:creationId xmlns:a16="http://schemas.microsoft.com/office/drawing/2014/main" id="{D72919FE-894D-45B2-9395-2592F2267980}"/>
              </a:ext>
            </a:extLst>
          </p:cNvPr>
          <p:cNvSpPr txBox="1"/>
          <p:nvPr/>
        </p:nvSpPr>
        <p:spPr>
          <a:xfrm>
            <a:off x="4810466" y="1010874"/>
            <a:ext cx="4076956" cy="338554"/>
          </a:xfrm>
          <a:prstGeom prst="rect">
            <a:avLst/>
          </a:prstGeom>
          <a:noFill/>
        </p:spPr>
        <p:txBody>
          <a:bodyPr wrap="square" rtlCol="0">
            <a:spAutoFit/>
          </a:bodyPr>
          <a:lstStyle/>
          <a:p>
            <a:r>
              <a:rPr lang="en-US" sz="800" dirty="0"/>
              <a:t>Annual registrations of heavy duty vehicles according to their engine, in 2022 and 2023</a:t>
            </a:r>
            <a:endParaRPr lang="fr-FR" sz="800" dirty="0"/>
          </a:p>
        </p:txBody>
      </p:sp>
      <p:sp>
        <p:nvSpPr>
          <p:cNvPr id="5" name="Ellipse 4">
            <a:extLst>
              <a:ext uri="{FF2B5EF4-FFF2-40B4-BE49-F238E27FC236}">
                <a16:creationId xmlns:a16="http://schemas.microsoft.com/office/drawing/2014/main" id="{C74842D6-3371-4E56-A457-DB71AC61B33F}"/>
              </a:ext>
            </a:extLst>
          </p:cNvPr>
          <p:cNvSpPr/>
          <p:nvPr/>
        </p:nvSpPr>
        <p:spPr>
          <a:xfrm>
            <a:off x="6732240" y="2770187"/>
            <a:ext cx="648072" cy="203200"/>
          </a:xfrm>
          <a:prstGeom prst="ellipse">
            <a:avLst/>
          </a:prstGeom>
          <a:noFill/>
        </p:spPr>
        <p:style>
          <a:lnRef idx="2">
            <a:schemeClr val="accent4"/>
          </a:lnRef>
          <a:fillRef idx="1">
            <a:schemeClr val="lt1"/>
          </a:fillRef>
          <a:effectRef idx="0">
            <a:schemeClr val="accent4"/>
          </a:effectRef>
          <a:fontRef idx="minor">
            <a:schemeClr val="dk1"/>
          </a:fontRef>
        </p:style>
        <p:txBody>
          <a:bodyPr rtlCol="0" anchor="ctr"/>
          <a:lstStyle/>
          <a:p>
            <a:pPr algn="ctr"/>
            <a:endParaRPr lang="fr-FR"/>
          </a:p>
        </p:txBody>
      </p:sp>
    </p:spTree>
    <p:extLst>
      <p:ext uri="{BB962C8B-B14F-4D97-AF65-F5344CB8AC3E}">
        <p14:creationId xmlns:p14="http://schemas.microsoft.com/office/powerpoint/2010/main" val="35941806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2"/>
          </p:nvPr>
        </p:nvSpPr>
        <p:spPr/>
        <p:txBody>
          <a:bodyPr/>
          <a:lstStyle/>
          <a:p>
            <a:fld id="{733122C9-A0B9-462F-8757-0847AD287B63}" type="slidenum">
              <a:rPr lang="fr-FR" smtClean="0"/>
              <a:pPr/>
              <a:t>7</a:t>
            </a:fld>
            <a:endParaRPr lang="fr-FR" dirty="0"/>
          </a:p>
        </p:txBody>
      </p:sp>
      <p:sp>
        <p:nvSpPr>
          <p:cNvPr id="6" name="Titre 1">
            <a:extLst>
              <a:ext uri="{FF2B5EF4-FFF2-40B4-BE49-F238E27FC236}">
                <a16:creationId xmlns:a16="http://schemas.microsoft.com/office/drawing/2014/main" id="{3AB391A8-B834-4692-A036-F4C34553C414}"/>
              </a:ext>
            </a:extLst>
          </p:cNvPr>
          <p:cNvSpPr txBox="1">
            <a:spLocks/>
          </p:cNvSpPr>
          <p:nvPr/>
        </p:nvSpPr>
        <p:spPr bwMode="gray">
          <a:xfrm>
            <a:off x="1619672" y="267494"/>
            <a:ext cx="8424000" cy="720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550" b="1" kern="1200">
                <a:solidFill>
                  <a:schemeClr val="tx1"/>
                </a:solidFill>
                <a:latin typeface="+mj-lt"/>
                <a:ea typeface="+mj-ea"/>
                <a:cs typeface="+mj-cs"/>
              </a:defRPr>
            </a:lvl1pPr>
          </a:lstStyle>
          <a:p>
            <a:pPr marL="360">
              <a:lnSpc>
                <a:spcPct val="90000"/>
              </a:lnSpc>
              <a:buClr>
                <a:srgbClr val="000000"/>
              </a:buClr>
            </a:pPr>
            <a:r>
              <a:rPr lang="fr-FR" sz="2550" b="1" spc="-1" dirty="0">
                <a:solidFill>
                  <a:srgbClr val="000000"/>
                </a:solidFill>
                <a:latin typeface="Marianne"/>
              </a:rPr>
              <a:t>Public subsidies and </a:t>
            </a:r>
            <a:r>
              <a:rPr lang="fr-FR" sz="2550" b="1" spc="-1" dirty="0" err="1">
                <a:solidFill>
                  <a:srgbClr val="000000"/>
                </a:solidFill>
                <a:latin typeface="Marianne"/>
              </a:rPr>
              <a:t>incentives</a:t>
            </a:r>
            <a:endParaRPr lang="fr-FR" sz="2550" b="1" strike="noStrike" spc="-1" dirty="0">
              <a:solidFill>
                <a:srgbClr val="000000"/>
              </a:solidFill>
              <a:latin typeface="Marianne"/>
            </a:endParaRPr>
          </a:p>
        </p:txBody>
      </p:sp>
      <p:sp>
        <p:nvSpPr>
          <p:cNvPr id="8" name="TextShape 2">
            <a:extLst>
              <a:ext uri="{FF2B5EF4-FFF2-40B4-BE49-F238E27FC236}">
                <a16:creationId xmlns:a16="http://schemas.microsoft.com/office/drawing/2014/main" id="{9CC462B9-9B90-4535-916D-133AB72E1C20}"/>
              </a:ext>
            </a:extLst>
          </p:cNvPr>
          <p:cNvSpPr txBox="1"/>
          <p:nvPr/>
        </p:nvSpPr>
        <p:spPr>
          <a:xfrm>
            <a:off x="360000" y="771551"/>
            <a:ext cx="8316000" cy="4012130"/>
          </a:xfrm>
          <a:prstGeom prst="rect">
            <a:avLst/>
          </a:prstGeom>
          <a:noFill/>
          <a:ln w="0">
            <a:noFill/>
          </a:ln>
        </p:spPr>
        <p:txBody>
          <a:bodyPr lIns="0" tIns="0" rIns="0" bIns="0">
            <a:noAutofit/>
          </a:bodyPr>
          <a:lstStyle/>
          <a:p>
            <a:pPr marL="351360" lvl="1" indent="-171000">
              <a:lnSpc>
                <a:spcPct val="100000"/>
              </a:lnSpc>
              <a:spcBef>
                <a:spcPts val="601"/>
              </a:spcBef>
              <a:spcAft>
                <a:spcPts val="799"/>
              </a:spcAft>
              <a:buClr>
                <a:srgbClr val="000091"/>
              </a:buClr>
              <a:buFont typeface="Wingdings" charset="2"/>
              <a:buChar char=""/>
            </a:pPr>
            <a:r>
              <a:rPr lang="fr-FR" sz="1050" b="1" spc="-1" dirty="0">
                <a:latin typeface="Marianne"/>
              </a:rPr>
              <a:t>1,5 billion € </a:t>
            </a:r>
            <a:r>
              <a:rPr lang="fr-FR" sz="1050" spc="-1" dirty="0" err="1">
                <a:latin typeface="Marianne"/>
              </a:rPr>
              <a:t>allocated</a:t>
            </a:r>
            <a:r>
              <a:rPr lang="fr-FR" sz="1050" spc="-1" dirty="0">
                <a:latin typeface="Marianne"/>
              </a:rPr>
              <a:t> in 2024 to support the acquisition of </a:t>
            </a:r>
            <a:r>
              <a:rPr lang="fr-FR" sz="1050" spc="-1" dirty="0" err="1">
                <a:latin typeface="Marianne"/>
              </a:rPr>
              <a:t>zero</a:t>
            </a:r>
            <a:r>
              <a:rPr lang="fr-FR" sz="1050" spc="-1" dirty="0">
                <a:latin typeface="Marianne"/>
              </a:rPr>
              <a:t> </a:t>
            </a:r>
            <a:r>
              <a:rPr lang="fr-FR" sz="1050" spc="-1" dirty="0" err="1">
                <a:latin typeface="Marianne"/>
              </a:rPr>
              <a:t>emission</a:t>
            </a:r>
            <a:r>
              <a:rPr lang="fr-FR" sz="1050" spc="-1" dirty="0">
                <a:latin typeface="Marianne"/>
              </a:rPr>
              <a:t> and </a:t>
            </a:r>
            <a:r>
              <a:rPr lang="fr-FR" sz="1050" spc="-1" dirty="0" err="1">
                <a:latin typeface="Marianne"/>
              </a:rPr>
              <a:t>low-emission</a:t>
            </a:r>
            <a:r>
              <a:rPr lang="fr-FR" sz="1050" spc="-1" dirty="0">
                <a:latin typeface="Marianne"/>
              </a:rPr>
              <a:t> </a:t>
            </a:r>
            <a:r>
              <a:rPr lang="fr-FR" sz="1050" spc="-1" dirty="0" err="1">
                <a:latin typeface="Marianne"/>
              </a:rPr>
              <a:t>vehicles</a:t>
            </a:r>
            <a:r>
              <a:rPr lang="fr-FR" sz="1050" spc="-1" dirty="0">
                <a:latin typeface="Marianne"/>
              </a:rPr>
              <a:t> </a:t>
            </a:r>
          </a:p>
          <a:p>
            <a:pPr marL="351360" lvl="1" indent="-171000">
              <a:lnSpc>
                <a:spcPct val="100000"/>
              </a:lnSpc>
              <a:spcBef>
                <a:spcPts val="601"/>
              </a:spcBef>
              <a:spcAft>
                <a:spcPts val="799"/>
              </a:spcAft>
              <a:buClr>
                <a:srgbClr val="000091"/>
              </a:buClr>
              <a:buFont typeface="Wingdings" charset="2"/>
              <a:buChar char=""/>
            </a:pPr>
            <a:r>
              <a:rPr lang="fr-FR" sz="1050" b="1" spc="-1" dirty="0" err="1">
                <a:latin typeface="Marianne"/>
              </a:rPr>
              <a:t>Three</a:t>
            </a:r>
            <a:r>
              <a:rPr lang="fr-FR" sz="1050" b="1" spc="-1" dirty="0">
                <a:latin typeface="Marianne"/>
              </a:rPr>
              <a:t> main </a:t>
            </a:r>
            <a:r>
              <a:rPr lang="fr-FR" sz="1050" b="1" spc="-1" dirty="0" err="1">
                <a:latin typeface="Marianne"/>
              </a:rPr>
              <a:t>schemes</a:t>
            </a:r>
            <a:r>
              <a:rPr lang="fr-FR" sz="1050" b="1" spc="-1" dirty="0">
                <a:latin typeface="Marianne"/>
              </a:rPr>
              <a:t> : </a:t>
            </a:r>
          </a:p>
          <a:p>
            <a:pPr marL="809010" lvl="2" indent="-171450">
              <a:spcBef>
                <a:spcPts val="601"/>
              </a:spcBef>
              <a:spcAft>
                <a:spcPts val="799"/>
              </a:spcAft>
              <a:buClr>
                <a:srgbClr val="000091"/>
              </a:buClr>
              <a:buFont typeface="Arial" panose="020B0604020202020204" pitchFamily="34" charset="0"/>
              <a:buChar char="•"/>
            </a:pPr>
            <a:r>
              <a:rPr lang="fr-FR" sz="1050" b="1" spc="-1" dirty="0" err="1">
                <a:latin typeface="Marianne"/>
              </a:rPr>
              <a:t>Ecological</a:t>
            </a:r>
            <a:r>
              <a:rPr lang="fr-FR" sz="1050" b="1" spc="-1" dirty="0">
                <a:latin typeface="Marianne"/>
              </a:rPr>
              <a:t> bonus </a:t>
            </a:r>
            <a:r>
              <a:rPr lang="fr-FR" sz="1050" spc="-1" dirty="0">
                <a:latin typeface="Marianne"/>
              </a:rPr>
              <a:t>: </a:t>
            </a:r>
            <a:r>
              <a:rPr lang="en-US" sz="1050" spc="-1" dirty="0">
                <a:latin typeface="Marianne"/>
              </a:rPr>
              <a:t>supports the acquisition of an electric car (up to 7 000 €), van, two-wheeler, three-wheeler, quadricycle, or a new bicycle </a:t>
            </a:r>
          </a:p>
          <a:p>
            <a:pPr marL="809010" lvl="2" indent="-171450">
              <a:spcBef>
                <a:spcPts val="601"/>
              </a:spcBef>
              <a:spcAft>
                <a:spcPts val="799"/>
              </a:spcAft>
              <a:buClr>
                <a:srgbClr val="000091"/>
              </a:buClr>
              <a:buFont typeface="Arial" panose="020B0604020202020204" pitchFamily="34" charset="0"/>
              <a:buChar char="•"/>
            </a:pPr>
            <a:r>
              <a:rPr lang="en-US" sz="1050" b="1" spc="-1" dirty="0">
                <a:latin typeface="Marianne"/>
              </a:rPr>
              <a:t>Scrapping premium </a:t>
            </a:r>
            <a:r>
              <a:rPr lang="en-US" sz="1050" spc="-1" dirty="0">
                <a:latin typeface="Marianne"/>
              </a:rPr>
              <a:t>: intended to accelerate the renewal of the fleet, it supports the purchase or rental of an electric or low-emission vehicle when the acquisition is accompanied by the scrapping of an old and polluting vehicle (up to 9 000 € for an electric car in a low-emission zone)</a:t>
            </a:r>
          </a:p>
          <a:p>
            <a:pPr marL="809010" lvl="2" indent="-171450">
              <a:spcBef>
                <a:spcPts val="601"/>
              </a:spcBef>
              <a:spcAft>
                <a:spcPts val="799"/>
              </a:spcAft>
              <a:buClr>
                <a:srgbClr val="000091"/>
              </a:buClr>
              <a:buFont typeface="Arial" panose="020B0604020202020204" pitchFamily="34" charset="0"/>
              <a:buChar char="•"/>
            </a:pPr>
            <a:r>
              <a:rPr lang="fr-FR" sz="1050" b="1" spc="-1" dirty="0"/>
              <a:t>Long-</a:t>
            </a:r>
            <a:r>
              <a:rPr lang="fr-FR" sz="1050" b="1" spc="-1" dirty="0" err="1"/>
              <a:t>term</a:t>
            </a:r>
            <a:r>
              <a:rPr lang="fr-FR" sz="1050" b="1" spc="-1" dirty="0"/>
              <a:t> « social » leasing </a:t>
            </a:r>
            <a:r>
              <a:rPr lang="fr-FR" sz="1050" spc="-1" dirty="0" err="1"/>
              <a:t>scheme</a:t>
            </a:r>
            <a:r>
              <a:rPr lang="fr-FR" sz="1050" spc="-1" dirty="0"/>
              <a:t>: </a:t>
            </a:r>
            <a:r>
              <a:rPr lang="fr-FR" sz="1050" spc="-1" dirty="0" err="1"/>
              <a:t>enabling</a:t>
            </a:r>
            <a:r>
              <a:rPr lang="fr-FR" sz="1050" spc="-1" dirty="0"/>
              <a:t> 100 €/</a:t>
            </a:r>
            <a:r>
              <a:rPr lang="fr-FR" sz="1050" spc="-1" dirty="0" err="1"/>
              <a:t>month</a:t>
            </a:r>
            <a:r>
              <a:rPr lang="fr-FR" sz="1050" spc="-1" dirty="0"/>
              <a:t> </a:t>
            </a:r>
            <a:r>
              <a:rPr lang="fr-FR" sz="1050" spc="-1" dirty="0" err="1"/>
              <a:t>rentals</a:t>
            </a:r>
            <a:r>
              <a:rPr lang="fr-FR" sz="1050" spc="-1" dirty="0"/>
              <a:t> for </a:t>
            </a:r>
            <a:r>
              <a:rPr lang="fr-FR" sz="1050" spc="-1" dirty="0" err="1"/>
              <a:t>electric</a:t>
            </a:r>
            <a:r>
              <a:rPr lang="fr-FR" sz="1050" spc="-1" dirty="0"/>
              <a:t> cars (</a:t>
            </a:r>
            <a:r>
              <a:rPr lang="en-US" sz="1050" spc="-1" dirty="0"/>
              <a:t>first wave of orders closed mid-February; second wave due to launch end of 2024/beginning of 2025</a:t>
            </a:r>
            <a:r>
              <a:rPr lang="fr-FR" sz="1050" spc="-1" dirty="0"/>
              <a:t>)</a:t>
            </a:r>
            <a:endParaRPr lang="fr-FR" sz="1050" spc="-1" dirty="0">
              <a:latin typeface="Marianne"/>
            </a:endParaRPr>
          </a:p>
          <a:p>
            <a:pPr marL="351810" lvl="1" indent="-171450">
              <a:spcBef>
                <a:spcPts val="601"/>
              </a:spcBef>
              <a:spcAft>
                <a:spcPts val="799"/>
              </a:spcAft>
              <a:buClr>
                <a:srgbClr val="000091"/>
              </a:buClr>
              <a:buFont typeface="Wingdings" panose="05000000000000000000" pitchFamily="2" charset="2"/>
              <a:buChar char="ü"/>
            </a:pPr>
            <a:r>
              <a:rPr lang="fr-FR" sz="1050" b="1" spc="-1" dirty="0" err="1">
                <a:latin typeface="Marianne"/>
              </a:rPr>
              <a:t>Other</a:t>
            </a:r>
            <a:r>
              <a:rPr lang="fr-FR" sz="1050" b="1" spc="-1" dirty="0">
                <a:latin typeface="Marianne"/>
              </a:rPr>
              <a:t> </a:t>
            </a:r>
            <a:r>
              <a:rPr lang="fr-FR" sz="1050" b="1" spc="-1" dirty="0" err="1">
                <a:latin typeface="Marianne"/>
              </a:rPr>
              <a:t>financial</a:t>
            </a:r>
            <a:r>
              <a:rPr lang="fr-FR" sz="1050" b="1" spc="-1" dirty="0">
                <a:latin typeface="Marianne"/>
              </a:rPr>
              <a:t> </a:t>
            </a:r>
            <a:r>
              <a:rPr lang="fr-FR" sz="1050" b="1" spc="-1" dirty="0" err="1">
                <a:latin typeface="Marianne"/>
              </a:rPr>
              <a:t>incentives</a:t>
            </a:r>
            <a:r>
              <a:rPr lang="fr-FR" sz="1050" b="1" spc="-1" dirty="0">
                <a:latin typeface="Marianne"/>
              </a:rPr>
              <a:t> : </a:t>
            </a:r>
            <a:r>
              <a:rPr lang="fr-FR" sz="1050" spc="-1" dirty="0">
                <a:latin typeface="Marianne"/>
              </a:rPr>
              <a:t>clean </a:t>
            </a:r>
            <a:r>
              <a:rPr lang="fr-FR" sz="1050" spc="-1" dirty="0" err="1">
                <a:latin typeface="Marianne"/>
              </a:rPr>
              <a:t>vehicles</a:t>
            </a:r>
            <a:r>
              <a:rPr lang="fr-FR" sz="1050" spc="-1" dirty="0">
                <a:latin typeface="Marianne"/>
              </a:rPr>
              <a:t> </a:t>
            </a:r>
            <a:r>
              <a:rPr lang="fr-FR" sz="1050" spc="-1" dirty="0" err="1">
                <a:latin typeface="Marianne"/>
              </a:rPr>
              <a:t>microcredit</a:t>
            </a:r>
            <a:r>
              <a:rPr lang="fr-FR" sz="1050" spc="-1" dirty="0">
                <a:latin typeface="Marianne"/>
              </a:rPr>
              <a:t>, </a:t>
            </a:r>
            <a:r>
              <a:rPr lang="fr-FR" sz="1050" spc="-1" dirty="0" err="1">
                <a:latin typeface="Marianne"/>
              </a:rPr>
              <a:t>zero-interest</a:t>
            </a:r>
            <a:r>
              <a:rPr lang="fr-FR" sz="1050" spc="-1" dirty="0">
                <a:latin typeface="Marianne"/>
              </a:rPr>
              <a:t> </a:t>
            </a:r>
            <a:r>
              <a:rPr lang="fr-FR" sz="1050" spc="-1" dirty="0" err="1">
                <a:latin typeface="Marianne"/>
              </a:rPr>
              <a:t>loan</a:t>
            </a:r>
            <a:r>
              <a:rPr lang="fr-FR" sz="1050" spc="-1" dirty="0">
                <a:latin typeface="Marianne"/>
              </a:rPr>
              <a:t> in </a:t>
            </a:r>
            <a:r>
              <a:rPr lang="fr-FR" sz="1050" spc="-1" dirty="0" err="1">
                <a:latin typeface="Marianne"/>
              </a:rPr>
              <a:t>low</a:t>
            </a:r>
            <a:r>
              <a:rPr lang="fr-FR" sz="1050" spc="-1" dirty="0">
                <a:latin typeface="Marianne"/>
              </a:rPr>
              <a:t> </a:t>
            </a:r>
            <a:r>
              <a:rPr lang="fr-FR" sz="1050" spc="-1" dirty="0" err="1">
                <a:latin typeface="Marianne"/>
              </a:rPr>
              <a:t>emission</a:t>
            </a:r>
            <a:r>
              <a:rPr lang="fr-FR" sz="1050" spc="-1" dirty="0">
                <a:latin typeface="Marianne"/>
              </a:rPr>
              <a:t> zones </a:t>
            </a:r>
          </a:p>
          <a:p>
            <a:pPr marL="351810" lvl="1" indent="-171450">
              <a:spcBef>
                <a:spcPts val="601"/>
              </a:spcBef>
              <a:spcAft>
                <a:spcPts val="799"/>
              </a:spcAft>
              <a:buClr>
                <a:srgbClr val="000091"/>
              </a:buClr>
              <a:buFont typeface="Wingdings" panose="05000000000000000000" pitchFamily="2" charset="2"/>
              <a:buChar char="ü"/>
            </a:pPr>
            <a:r>
              <a:rPr lang="fr-FR" sz="1050" b="1" spc="-1" dirty="0" err="1">
                <a:latin typeface="Marianne"/>
              </a:rPr>
              <a:t>Other</a:t>
            </a:r>
            <a:r>
              <a:rPr lang="fr-FR" sz="1050" b="1" spc="-1" dirty="0">
                <a:latin typeface="Marianne"/>
              </a:rPr>
              <a:t> non </a:t>
            </a:r>
            <a:r>
              <a:rPr lang="fr-FR" sz="1050" b="1" spc="-1" dirty="0" err="1">
                <a:latin typeface="Marianne"/>
              </a:rPr>
              <a:t>financial</a:t>
            </a:r>
            <a:r>
              <a:rPr lang="fr-FR" sz="1050" b="1" spc="-1" dirty="0">
                <a:latin typeface="Marianne"/>
              </a:rPr>
              <a:t> </a:t>
            </a:r>
            <a:r>
              <a:rPr lang="fr-FR" sz="1050" b="1" spc="-1" dirty="0" err="1">
                <a:latin typeface="Marianne"/>
              </a:rPr>
              <a:t>incentives</a:t>
            </a:r>
            <a:r>
              <a:rPr lang="fr-FR" sz="1050" b="1" spc="-1" dirty="0">
                <a:latin typeface="Marianne"/>
              </a:rPr>
              <a:t> : </a:t>
            </a:r>
            <a:r>
              <a:rPr lang="en-US" sz="1050" spc="-1" dirty="0">
                <a:latin typeface="Marianne"/>
              </a:rPr>
              <a:t>obligations for private and public fleet managers to acquire minimum shares of low-emission vehicles. These obligations are raised over time.</a:t>
            </a:r>
            <a:endParaRPr lang="fr-FR" sz="1050" spc="-1" dirty="0">
              <a:latin typeface="Marianne"/>
            </a:endParaRPr>
          </a:p>
          <a:p>
            <a:pPr marL="351810" lvl="1" indent="-171450">
              <a:spcBef>
                <a:spcPts val="601"/>
              </a:spcBef>
              <a:spcAft>
                <a:spcPts val="799"/>
              </a:spcAft>
              <a:buClr>
                <a:srgbClr val="000091"/>
              </a:buClr>
              <a:buFont typeface="Wingdings" panose="05000000000000000000" pitchFamily="2" charset="2"/>
              <a:buChar char="ü"/>
            </a:pPr>
            <a:r>
              <a:rPr lang="fr-FR" sz="1050" b="1" spc="-1" dirty="0" err="1">
                <a:latin typeface="Marianne"/>
              </a:rPr>
              <a:t>Industrial</a:t>
            </a:r>
            <a:r>
              <a:rPr lang="fr-FR" sz="1050" b="1" spc="-1" dirty="0">
                <a:latin typeface="Marianne"/>
              </a:rPr>
              <a:t> </a:t>
            </a:r>
            <a:r>
              <a:rPr lang="fr-FR" sz="1050" b="1" spc="-1" dirty="0" err="1">
                <a:latin typeface="Marianne"/>
              </a:rPr>
              <a:t>targets</a:t>
            </a:r>
            <a:r>
              <a:rPr lang="fr-FR" sz="1050" b="1" spc="-1" dirty="0">
                <a:latin typeface="Marianne"/>
              </a:rPr>
              <a:t> </a:t>
            </a:r>
            <a:r>
              <a:rPr lang="fr-FR" sz="1050" spc="-1" dirty="0">
                <a:latin typeface="Marianne"/>
              </a:rPr>
              <a:t>:  </a:t>
            </a:r>
            <a:r>
              <a:rPr lang="en-US" sz="1050" spc="-1" dirty="0">
                <a:latin typeface="Marianne"/>
              </a:rPr>
              <a:t>producing </a:t>
            </a:r>
            <a:r>
              <a:rPr lang="en-US" sz="1050" b="1" spc="-1" dirty="0">
                <a:latin typeface="Marianne"/>
              </a:rPr>
              <a:t>1 million EVs </a:t>
            </a:r>
            <a:r>
              <a:rPr lang="en-US" sz="1050" spc="-1" dirty="0">
                <a:latin typeface="Marianne"/>
              </a:rPr>
              <a:t>per year in France</a:t>
            </a:r>
            <a:r>
              <a:rPr lang="en-US" sz="1050" b="1" spc="-1" dirty="0">
                <a:latin typeface="Marianne"/>
              </a:rPr>
              <a:t> by 2027 </a:t>
            </a:r>
            <a:r>
              <a:rPr lang="en-US" sz="1050" spc="-1" dirty="0">
                <a:latin typeface="Marianne"/>
              </a:rPr>
              <a:t>and</a:t>
            </a:r>
            <a:r>
              <a:rPr lang="en-US" sz="1050" b="1" spc="-1" dirty="0">
                <a:latin typeface="Marianne"/>
              </a:rPr>
              <a:t> 2 million EVs by 2030</a:t>
            </a:r>
          </a:p>
          <a:p>
            <a:pPr marL="809010" lvl="2" indent="-171450">
              <a:spcBef>
                <a:spcPts val="601"/>
              </a:spcBef>
              <a:spcAft>
                <a:spcPts val="799"/>
              </a:spcAft>
              <a:buClr>
                <a:srgbClr val="000091"/>
              </a:buClr>
              <a:buFont typeface="Arial" panose="020B0604020202020204" pitchFamily="34" charset="0"/>
              <a:buChar char="•"/>
            </a:pPr>
            <a:r>
              <a:rPr lang="en-US" sz="1050" b="1" spc="-1" dirty="0">
                <a:latin typeface="Marianne"/>
              </a:rPr>
              <a:t>France 2030 program </a:t>
            </a:r>
            <a:r>
              <a:rPr lang="en-US" sz="1050" spc="-1" dirty="0">
                <a:latin typeface="Marianne"/>
              </a:rPr>
              <a:t>: large scale investments in innovation and </a:t>
            </a:r>
            <a:r>
              <a:rPr lang="en-US" sz="1050" spc="-1" dirty="0" err="1">
                <a:latin typeface="Marianne"/>
              </a:rPr>
              <a:t>industrialisation</a:t>
            </a:r>
            <a:r>
              <a:rPr lang="en-US" sz="1050" spc="-1" dirty="0">
                <a:latin typeface="Marianne"/>
              </a:rPr>
              <a:t> </a:t>
            </a:r>
          </a:p>
          <a:p>
            <a:pPr marL="809010" lvl="2" indent="-171450">
              <a:spcBef>
                <a:spcPts val="601"/>
              </a:spcBef>
              <a:spcAft>
                <a:spcPts val="799"/>
              </a:spcAft>
              <a:buClr>
                <a:srgbClr val="000091"/>
              </a:buClr>
              <a:buFont typeface="Arial" panose="020B0604020202020204" pitchFamily="34" charset="0"/>
              <a:buChar char="•"/>
            </a:pPr>
            <a:r>
              <a:rPr lang="en-US" sz="1050" b="1" spc="-1" dirty="0">
                <a:latin typeface="Marianne"/>
              </a:rPr>
              <a:t>1 billion € </a:t>
            </a:r>
            <a:r>
              <a:rPr lang="en-US" sz="1050" spc="-1" dirty="0">
                <a:latin typeface="Marianne"/>
              </a:rPr>
              <a:t>specifically dedicated to innovative projects in the automotive sector (e.g. electric batteries)</a:t>
            </a:r>
            <a:endParaRPr lang="fr-FR" sz="1050" spc="-1" dirty="0">
              <a:latin typeface="Marianne"/>
            </a:endParaRPr>
          </a:p>
          <a:p>
            <a:pPr marL="625475" lvl="2" indent="12700">
              <a:spcBef>
                <a:spcPts val="601"/>
              </a:spcBef>
              <a:spcAft>
                <a:spcPts val="799"/>
              </a:spcAft>
              <a:buClr>
                <a:srgbClr val="000091"/>
              </a:buClr>
              <a:buFont typeface="Wingdings" charset="2"/>
              <a:buChar char=""/>
            </a:pPr>
            <a:endParaRPr lang="fr-FR" sz="1050" spc="-1" dirty="0">
              <a:solidFill>
                <a:srgbClr val="FF0000"/>
              </a:solidFill>
              <a:latin typeface="Marianne"/>
            </a:endParaRPr>
          </a:p>
        </p:txBody>
      </p:sp>
    </p:spTree>
    <p:extLst>
      <p:ext uri="{BB962C8B-B14F-4D97-AF65-F5344CB8AC3E}">
        <p14:creationId xmlns:p14="http://schemas.microsoft.com/office/powerpoint/2010/main" val="41659349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pied de page 3">
            <a:extLst>
              <a:ext uri="{FF2B5EF4-FFF2-40B4-BE49-F238E27FC236}">
                <a16:creationId xmlns:a16="http://schemas.microsoft.com/office/drawing/2014/main" id="{617B1E8A-A8C4-4058-BC14-D2BA5C68CD50}"/>
              </a:ext>
            </a:extLst>
          </p:cNvPr>
          <p:cNvSpPr>
            <a:spLocks noGrp="1"/>
          </p:cNvSpPr>
          <p:nvPr>
            <p:ph type="ftr" sz="quarter" idx="11"/>
          </p:nvPr>
        </p:nvSpPr>
        <p:spPr/>
        <p:txBody>
          <a:bodyPr/>
          <a:lstStyle/>
          <a:p>
            <a:r>
              <a:rPr lang="fr-FR" dirty="0"/>
              <a:t>Direction générale de l’énergie et du climat</a:t>
            </a:r>
          </a:p>
        </p:txBody>
      </p:sp>
      <p:sp>
        <p:nvSpPr>
          <p:cNvPr id="5" name="Espace réservé du numéro de diapositive 4">
            <a:extLst>
              <a:ext uri="{FF2B5EF4-FFF2-40B4-BE49-F238E27FC236}">
                <a16:creationId xmlns:a16="http://schemas.microsoft.com/office/drawing/2014/main" id="{E565DE4B-967A-4DD2-B214-90487189B7FF}"/>
              </a:ext>
            </a:extLst>
          </p:cNvPr>
          <p:cNvSpPr>
            <a:spLocks noGrp="1"/>
          </p:cNvSpPr>
          <p:nvPr>
            <p:ph type="sldNum" sz="quarter" idx="12"/>
          </p:nvPr>
        </p:nvSpPr>
        <p:spPr/>
        <p:txBody>
          <a:bodyPr/>
          <a:lstStyle/>
          <a:p>
            <a:fld id="{733122C9-A0B9-462F-8757-0847AD287B63}" type="slidenum">
              <a:rPr lang="fr-FR" smtClean="0"/>
              <a:pPr/>
              <a:t>8</a:t>
            </a:fld>
            <a:endParaRPr lang="fr-FR" dirty="0"/>
          </a:p>
        </p:txBody>
      </p:sp>
      <p:sp>
        <p:nvSpPr>
          <p:cNvPr id="9" name="TextShape 2">
            <a:extLst>
              <a:ext uri="{FF2B5EF4-FFF2-40B4-BE49-F238E27FC236}">
                <a16:creationId xmlns:a16="http://schemas.microsoft.com/office/drawing/2014/main" id="{1DB4306F-6194-4745-9179-8686C31DBDD3}"/>
              </a:ext>
            </a:extLst>
          </p:cNvPr>
          <p:cNvSpPr txBox="1"/>
          <p:nvPr/>
        </p:nvSpPr>
        <p:spPr>
          <a:xfrm>
            <a:off x="653501" y="2065186"/>
            <a:ext cx="8400138" cy="2413346"/>
          </a:xfrm>
          <a:prstGeom prst="rect">
            <a:avLst/>
          </a:prstGeom>
          <a:noFill/>
          <a:ln w="0">
            <a:noFill/>
          </a:ln>
        </p:spPr>
        <p:txBody>
          <a:bodyPr lIns="0" tIns="0" rIns="0" bIns="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24000" lvl="1" indent="-143640">
              <a:lnSpc>
                <a:spcPct val="100000"/>
              </a:lnSpc>
              <a:spcBef>
                <a:spcPts val="601"/>
              </a:spcBef>
              <a:spcAft>
                <a:spcPts val="799"/>
              </a:spcAft>
              <a:buClr>
                <a:srgbClr val="000091"/>
              </a:buClr>
              <a:buFont typeface="Marianne"/>
              <a:buAutoNum type="arabicPeriod"/>
            </a:pPr>
            <a:endParaRPr lang="fr-FR" sz="950" b="0" strike="noStrike" spc="-1" dirty="0">
              <a:solidFill>
                <a:srgbClr val="000000"/>
              </a:solidFill>
              <a:latin typeface="Marianne"/>
            </a:endParaRPr>
          </a:p>
        </p:txBody>
      </p:sp>
      <p:sp>
        <p:nvSpPr>
          <p:cNvPr id="13" name="TextShape 1">
            <a:extLst>
              <a:ext uri="{FF2B5EF4-FFF2-40B4-BE49-F238E27FC236}">
                <a16:creationId xmlns:a16="http://schemas.microsoft.com/office/drawing/2014/main" id="{E3C4D640-E966-4243-BC57-56A37623F2A9}"/>
              </a:ext>
            </a:extLst>
          </p:cNvPr>
          <p:cNvSpPr txBox="1"/>
          <p:nvPr/>
        </p:nvSpPr>
        <p:spPr>
          <a:xfrm>
            <a:off x="1835696" y="305148"/>
            <a:ext cx="6552728" cy="719640"/>
          </a:xfrm>
          <a:prstGeom prst="rect">
            <a:avLst/>
          </a:prstGeom>
          <a:noFill/>
          <a:ln w="0">
            <a:noFill/>
          </a:ln>
        </p:spPr>
        <p:txBody>
          <a:bodyPr lIns="0" tIns="0" rIns="0" bIns="0">
            <a:noAutofit/>
          </a:bodyPr>
          <a:lstStyle/>
          <a:p>
            <a:pPr marL="360">
              <a:lnSpc>
                <a:spcPct val="90000"/>
              </a:lnSpc>
              <a:buClr>
                <a:srgbClr val="000000"/>
              </a:buClr>
            </a:pPr>
            <a:r>
              <a:rPr lang="fr-FR" sz="2550" b="1" spc="-1" dirty="0">
                <a:solidFill>
                  <a:srgbClr val="000000"/>
                </a:solidFill>
                <a:latin typeface="Marianne"/>
              </a:rPr>
              <a:t>Public subsidies to </a:t>
            </a:r>
            <a:r>
              <a:rPr lang="fr-FR" sz="2550" b="1" spc="-1" dirty="0" err="1">
                <a:solidFill>
                  <a:srgbClr val="000000"/>
                </a:solidFill>
                <a:latin typeface="Marianne"/>
              </a:rPr>
              <a:t>incentivise</a:t>
            </a:r>
            <a:r>
              <a:rPr lang="fr-FR" sz="2550" b="1" spc="-1" dirty="0">
                <a:solidFill>
                  <a:srgbClr val="000000"/>
                </a:solidFill>
                <a:latin typeface="Marianne"/>
              </a:rPr>
              <a:t> </a:t>
            </a:r>
            <a:r>
              <a:rPr lang="fr-FR" sz="2550" b="1" spc="-1" dirty="0" err="1">
                <a:solidFill>
                  <a:srgbClr val="000000"/>
                </a:solidFill>
                <a:latin typeface="Marianne"/>
              </a:rPr>
              <a:t>charging</a:t>
            </a:r>
            <a:r>
              <a:rPr lang="fr-FR" sz="2550" b="1" spc="-1" dirty="0">
                <a:solidFill>
                  <a:srgbClr val="000000"/>
                </a:solidFill>
                <a:latin typeface="Marianne"/>
              </a:rPr>
              <a:t> </a:t>
            </a:r>
            <a:r>
              <a:rPr lang="fr-FR" sz="2550" b="1" spc="-1" dirty="0" err="1">
                <a:solidFill>
                  <a:srgbClr val="000000"/>
                </a:solidFill>
                <a:latin typeface="Marianne"/>
              </a:rPr>
              <a:t>infrastucture</a:t>
            </a:r>
            <a:endParaRPr lang="fr-FR" sz="2550" b="1" strike="noStrike" spc="-1" dirty="0">
              <a:solidFill>
                <a:srgbClr val="000000"/>
              </a:solidFill>
              <a:latin typeface="Marianne"/>
            </a:endParaRPr>
          </a:p>
        </p:txBody>
      </p:sp>
      <p:sp>
        <p:nvSpPr>
          <p:cNvPr id="8" name="TextShape 2">
            <a:extLst>
              <a:ext uri="{FF2B5EF4-FFF2-40B4-BE49-F238E27FC236}">
                <a16:creationId xmlns:a16="http://schemas.microsoft.com/office/drawing/2014/main" id="{A9FD7D8E-6160-42BA-A556-5027DB71E2A9}"/>
              </a:ext>
            </a:extLst>
          </p:cNvPr>
          <p:cNvSpPr txBox="1"/>
          <p:nvPr/>
        </p:nvSpPr>
        <p:spPr>
          <a:xfrm>
            <a:off x="179512" y="1238172"/>
            <a:ext cx="8314417" cy="3168000"/>
          </a:xfrm>
          <a:prstGeom prst="rect">
            <a:avLst/>
          </a:prstGeom>
          <a:noFill/>
          <a:ln w="0">
            <a:noFill/>
          </a:ln>
        </p:spPr>
        <p:txBody>
          <a:bodyPr lIns="0" tIns="0" rIns="0" bIns="0">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42950" lvl="1" indent="-285750" algn="just">
              <a:spcBef>
                <a:spcPts val="600"/>
              </a:spcBef>
              <a:spcAft>
                <a:spcPts val="800"/>
              </a:spcAft>
              <a:buFont typeface="Courier New" panose="02070309020205020404" pitchFamily="49" charset="0"/>
              <a:buChar char="o"/>
            </a:pPr>
            <a:r>
              <a:rPr lang="en-GB" sz="1100" b="1" dirty="0">
                <a:effectLst/>
                <a:latin typeface="Marianne" panose="02000000000000000000" pitchFamily="50" charset="0"/>
                <a:ea typeface="Calibri" panose="020F0502020204030204" pitchFamily="34" charset="0"/>
                <a:cs typeface="Times New Roman" panose="02020603050405020304" pitchFamily="18" charset="0"/>
              </a:rPr>
              <a:t>€100 million </a:t>
            </a:r>
            <a:r>
              <a:rPr lang="en-GB" sz="1100" dirty="0">
                <a:effectLst/>
                <a:latin typeface="Marianne" panose="02000000000000000000" pitchFamily="50" charset="0"/>
                <a:ea typeface="Calibri" panose="020F0502020204030204" pitchFamily="34" charset="0"/>
                <a:cs typeface="Times New Roman" panose="02020603050405020304" pitchFamily="18" charset="0"/>
              </a:rPr>
              <a:t>envelope, under the recovery plan, which helped equip service areas in the public domain of the national road network and the motorway network with high-power charging points</a:t>
            </a:r>
            <a:endParaRPr lang="fr-FR" sz="1100" dirty="0">
              <a:effectLst/>
              <a:latin typeface="Marianne" panose="02000000000000000000" pitchFamily="50" charset="0"/>
              <a:ea typeface="Calibri" panose="020F0502020204030204" pitchFamily="34" charset="0"/>
              <a:cs typeface="Times New Roman" panose="02020603050405020304" pitchFamily="18" charset="0"/>
            </a:endParaRPr>
          </a:p>
          <a:p>
            <a:pPr marL="742950" lvl="1" indent="-285750" algn="just">
              <a:spcBef>
                <a:spcPts val="600"/>
              </a:spcBef>
              <a:spcAft>
                <a:spcPts val="800"/>
              </a:spcAft>
              <a:buFont typeface="Courier New" panose="02070309020205020404" pitchFamily="49" charset="0"/>
              <a:buChar char="o"/>
            </a:pPr>
            <a:r>
              <a:rPr lang="en-GB" sz="1100" b="1" dirty="0">
                <a:effectLst/>
                <a:latin typeface="Marianne" panose="02000000000000000000" pitchFamily="50" charset="0"/>
                <a:ea typeface="Calibri" panose="020F0502020204030204" pitchFamily="34" charset="0"/>
                <a:cs typeface="Times New Roman" panose="02020603050405020304" pitchFamily="18" charset="0"/>
              </a:rPr>
              <a:t>€10 million </a:t>
            </a:r>
            <a:r>
              <a:rPr lang="en-GB" sz="1100" dirty="0">
                <a:effectLst/>
                <a:latin typeface="Marianne" panose="02000000000000000000" pitchFamily="50" charset="0"/>
                <a:ea typeface="Calibri" panose="020F0502020204030204" pitchFamily="34" charset="0"/>
                <a:cs typeface="Times New Roman" panose="02020603050405020304" pitchFamily="18" charset="0"/>
              </a:rPr>
              <a:t>envelope, under the aid program supporting projects, to deploy recharging infrastructures open to the public in independent service stations, until the end of 2024</a:t>
            </a:r>
          </a:p>
          <a:p>
            <a:pPr marL="742950" lvl="1" indent="-285750" algn="just">
              <a:spcBef>
                <a:spcPts val="600"/>
              </a:spcBef>
              <a:spcAft>
                <a:spcPts val="800"/>
              </a:spcAft>
              <a:buFont typeface="Courier New" panose="02070309020205020404" pitchFamily="49" charset="0"/>
              <a:buChar char="o"/>
            </a:pPr>
            <a:r>
              <a:rPr lang="en-GB" sz="1100" b="1" dirty="0">
                <a:effectLst/>
                <a:latin typeface="Marianne" panose="02000000000000000000" pitchFamily="50" charset="0"/>
                <a:ea typeface="Calibri" panose="020F0502020204030204" pitchFamily="34" charset="0"/>
                <a:cs typeface="Times New Roman" panose="02020603050405020304" pitchFamily="18" charset="0"/>
              </a:rPr>
              <a:t>€130 million</a:t>
            </a:r>
            <a:r>
              <a:rPr lang="en-GB" sz="1100" dirty="0">
                <a:latin typeface="Marianne" panose="02000000000000000000" pitchFamily="50" charset="0"/>
                <a:ea typeface="Calibri" panose="020F0502020204030204" pitchFamily="34" charset="0"/>
                <a:cs typeface="Times New Roman" panose="02020603050405020304" pitchFamily="18" charset="0"/>
              </a:rPr>
              <a:t> envelope, under the </a:t>
            </a:r>
            <a:r>
              <a:rPr lang="en-US" sz="1100" dirty="0">
                <a:latin typeface="Marianne" panose="02000000000000000000" pitchFamily="50" charset="0"/>
                <a:ea typeface="Calibri" panose="020F0502020204030204" pitchFamily="34" charset="0"/>
                <a:cs typeface="Times New Roman" panose="02020603050405020304" pitchFamily="18" charset="0"/>
              </a:rPr>
              <a:t>call for projects Heavy electric vehicle ecosystems, to support the acquisition/long-term rental of heavy electric vehicles, as well as the installation of charging stations adapted to their use</a:t>
            </a:r>
          </a:p>
          <a:p>
            <a:pPr marL="742950" lvl="1" indent="-285750" algn="just">
              <a:spcBef>
                <a:spcPts val="600"/>
              </a:spcBef>
              <a:spcAft>
                <a:spcPts val="800"/>
              </a:spcAft>
              <a:buFont typeface="Courier New" panose="02070309020205020404" pitchFamily="49" charset="0"/>
              <a:buChar char="o"/>
            </a:pPr>
            <a:r>
              <a:rPr lang="en-GB" sz="1100" b="1" dirty="0">
                <a:effectLst/>
                <a:latin typeface="Marianne" panose="02000000000000000000" pitchFamily="50" charset="0"/>
                <a:ea typeface="Calibri" panose="020F0502020204030204" pitchFamily="34" charset="0"/>
                <a:cs typeface="Times New Roman" panose="02020603050405020304" pitchFamily="18" charset="0"/>
              </a:rPr>
              <a:t>€200 million </a:t>
            </a:r>
            <a:r>
              <a:rPr lang="en-GB" sz="1100" dirty="0">
                <a:effectLst/>
                <a:latin typeface="Marianne" panose="02000000000000000000" pitchFamily="50" charset="0"/>
                <a:ea typeface="Calibri" panose="020F0502020204030204" pitchFamily="34" charset="0"/>
                <a:cs typeface="Times New Roman" panose="02020603050405020304" pitchFamily="18" charset="0"/>
              </a:rPr>
              <a:t>envelope, under the ADVENIR program, </a:t>
            </a:r>
            <a:r>
              <a:rPr lang="en-US" sz="1100" dirty="0">
                <a:effectLst/>
                <a:latin typeface="Marianne" panose="02000000000000000000" pitchFamily="50" charset="0"/>
                <a:ea typeface="Calibri" panose="020F0502020204030204" pitchFamily="34" charset="0"/>
                <a:cs typeface="Times New Roman" panose="02020603050405020304" pitchFamily="18" charset="0"/>
              </a:rPr>
              <a:t>which is added to the 320 million euros mobilized since 2016, to finance the massive deployment of charging stations, but also the training of all stakeholders and the dissemination of information to the audiences concerned</a:t>
            </a:r>
            <a:r>
              <a:rPr lang="en-GB" sz="1100" dirty="0">
                <a:effectLst/>
                <a:latin typeface="Marianne" panose="02000000000000000000" pitchFamily="50" charset="0"/>
                <a:ea typeface="Calibri" panose="020F0502020204030204" pitchFamily="34" charset="0"/>
                <a:cs typeface="Times New Roman" panose="02020603050405020304" pitchFamily="18" charset="0"/>
              </a:rPr>
              <a:t> </a:t>
            </a:r>
            <a:endParaRPr lang="fr-FR" sz="1100" dirty="0">
              <a:effectLst/>
              <a:latin typeface="Marianne" panose="02000000000000000000" pitchFamily="50" charset="0"/>
              <a:ea typeface="Calibri" panose="020F0502020204030204" pitchFamily="34" charset="0"/>
              <a:cs typeface="Times New Roman" panose="02020603050405020304" pitchFamily="18" charset="0"/>
            </a:endParaRPr>
          </a:p>
          <a:p>
            <a:pPr marL="742950" lvl="1" indent="-285750" algn="just">
              <a:spcBef>
                <a:spcPts val="600"/>
              </a:spcBef>
              <a:spcAft>
                <a:spcPts val="800"/>
              </a:spcAft>
              <a:buFont typeface="Courier New" panose="02070309020205020404" pitchFamily="49" charset="0"/>
              <a:buChar char="o"/>
            </a:pPr>
            <a:r>
              <a:rPr lang="en-GB" sz="1100" b="1" dirty="0">
                <a:effectLst/>
                <a:latin typeface="Marianne" panose="02000000000000000000" pitchFamily="50" charset="0"/>
                <a:ea typeface="Calibri" panose="020F0502020204030204" pitchFamily="34" charset="0"/>
                <a:cs typeface="Times New Roman" panose="02020603050405020304" pitchFamily="18" charset="0"/>
              </a:rPr>
              <a:t>Value-Added Tax (VTA) rate reduced </a:t>
            </a:r>
            <a:r>
              <a:rPr lang="en-GB" sz="1100" dirty="0">
                <a:effectLst/>
                <a:latin typeface="Marianne" panose="02000000000000000000" pitchFamily="50" charset="0"/>
                <a:ea typeface="Calibri" panose="020F0502020204030204" pitchFamily="34" charset="0"/>
                <a:cs typeface="Times New Roman" panose="02020603050405020304" pitchFamily="18" charset="0"/>
              </a:rPr>
              <a:t>to 5.5% instead of 20% for installation and maintenance work on home charging stations</a:t>
            </a:r>
            <a:r>
              <a:rPr lang="fr-FR" sz="1100" b="1" spc="-1" dirty="0">
                <a:latin typeface="Marianne" panose="02000000000000000000" pitchFamily="50" charset="0"/>
              </a:rPr>
              <a:t> </a:t>
            </a:r>
            <a:endParaRPr lang="fr-FR" sz="1100" spc="-1" dirty="0">
              <a:latin typeface="Marianne" panose="02000000000000000000" pitchFamily="50" charset="0"/>
            </a:endParaRPr>
          </a:p>
          <a:p>
            <a:pPr marL="625475" lvl="2" indent="12700">
              <a:spcBef>
                <a:spcPts val="601"/>
              </a:spcBef>
              <a:spcAft>
                <a:spcPts val="799"/>
              </a:spcAft>
              <a:buClr>
                <a:srgbClr val="000091"/>
              </a:buClr>
              <a:buFont typeface="Wingdings" charset="2"/>
              <a:buChar char=""/>
            </a:pPr>
            <a:endParaRPr lang="fr-FR" sz="1100" spc="-1" dirty="0">
              <a:solidFill>
                <a:srgbClr val="FF0000"/>
              </a:solidFill>
              <a:latin typeface="Marianne"/>
            </a:endParaRPr>
          </a:p>
        </p:txBody>
      </p:sp>
    </p:spTree>
    <p:extLst>
      <p:ext uri="{BB962C8B-B14F-4D97-AF65-F5344CB8AC3E}">
        <p14:creationId xmlns:p14="http://schemas.microsoft.com/office/powerpoint/2010/main" val="42384138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4894A9-3003-46F1-BB3F-5A704A27E3E6}"/>
              </a:ext>
            </a:extLst>
          </p:cNvPr>
          <p:cNvSpPr>
            <a:spLocks noGrp="1"/>
          </p:cNvSpPr>
          <p:nvPr>
            <p:ph type="title"/>
          </p:nvPr>
        </p:nvSpPr>
        <p:spPr/>
        <p:txBody>
          <a:bodyPr/>
          <a:lstStyle/>
          <a:p>
            <a:r>
              <a:rPr lang="fr-FR" dirty="0"/>
              <a:t>Fiscal </a:t>
            </a:r>
            <a:r>
              <a:rPr lang="fr-FR" dirty="0" err="1"/>
              <a:t>policy</a:t>
            </a:r>
            <a:r>
              <a:rPr lang="fr-FR" dirty="0"/>
              <a:t> on car: CO2 malus</a:t>
            </a:r>
          </a:p>
        </p:txBody>
      </p:sp>
      <p:sp>
        <p:nvSpPr>
          <p:cNvPr id="5" name="Espace réservé du numéro de diapositive 4">
            <a:extLst>
              <a:ext uri="{FF2B5EF4-FFF2-40B4-BE49-F238E27FC236}">
                <a16:creationId xmlns:a16="http://schemas.microsoft.com/office/drawing/2014/main" id="{CB3F7182-9330-4D4E-9D47-64646FA70905}"/>
              </a:ext>
            </a:extLst>
          </p:cNvPr>
          <p:cNvSpPr>
            <a:spLocks noGrp="1"/>
          </p:cNvSpPr>
          <p:nvPr>
            <p:ph type="sldNum" sz="quarter" idx="12"/>
          </p:nvPr>
        </p:nvSpPr>
        <p:spPr/>
        <p:txBody>
          <a:bodyPr/>
          <a:lstStyle/>
          <a:p>
            <a:fld id="{733122C9-A0B9-462F-8757-0847AD287B63}" type="slidenum">
              <a:rPr lang="fr-FR" smtClean="0"/>
              <a:pPr/>
              <a:t>9</a:t>
            </a:fld>
            <a:endParaRPr lang="fr-FR" dirty="0"/>
          </a:p>
        </p:txBody>
      </p:sp>
      <p:sp>
        <p:nvSpPr>
          <p:cNvPr id="6" name="Espace réservé du contenu 5">
            <a:extLst>
              <a:ext uri="{FF2B5EF4-FFF2-40B4-BE49-F238E27FC236}">
                <a16:creationId xmlns:a16="http://schemas.microsoft.com/office/drawing/2014/main" id="{BCCFA67F-DD25-4270-A15C-B425C33A7DC4}"/>
              </a:ext>
            </a:extLst>
          </p:cNvPr>
          <p:cNvSpPr>
            <a:spLocks noGrp="1"/>
          </p:cNvSpPr>
          <p:nvPr>
            <p:ph sz="quarter" idx="14"/>
          </p:nvPr>
        </p:nvSpPr>
        <p:spPr>
          <a:xfrm>
            <a:off x="359999" y="1419622"/>
            <a:ext cx="8424000" cy="2574000"/>
          </a:xfrm>
        </p:spPr>
        <p:txBody>
          <a:bodyPr/>
          <a:lstStyle/>
          <a:p>
            <a:r>
              <a:rPr lang="fr-FR" b="1" dirty="0" err="1"/>
              <a:t>Tax</a:t>
            </a:r>
            <a:r>
              <a:rPr lang="fr-FR" b="1" dirty="0"/>
              <a:t> on </a:t>
            </a:r>
            <a:r>
              <a:rPr lang="fr-FR" b="1" dirty="0" err="1"/>
              <a:t>carbon</a:t>
            </a:r>
            <a:r>
              <a:rPr lang="fr-FR" b="1" dirty="0"/>
              <a:t> </a:t>
            </a:r>
            <a:r>
              <a:rPr lang="fr-FR" b="1" dirty="0" err="1"/>
              <a:t>dioxide</a:t>
            </a:r>
            <a:r>
              <a:rPr lang="fr-FR" b="1" dirty="0"/>
              <a:t> </a:t>
            </a:r>
            <a:r>
              <a:rPr lang="fr-FR" b="1" dirty="0" err="1"/>
              <a:t>emissions</a:t>
            </a:r>
            <a:r>
              <a:rPr lang="fr-FR" b="1" dirty="0"/>
              <a:t> </a:t>
            </a:r>
            <a:r>
              <a:rPr lang="fr-FR" b="1" dirty="0" err="1"/>
              <a:t>from</a:t>
            </a:r>
            <a:r>
              <a:rPr lang="fr-FR" b="1" dirty="0"/>
              <a:t> </a:t>
            </a:r>
            <a:r>
              <a:rPr lang="fr-FR" b="1" dirty="0" err="1"/>
              <a:t>passenger</a:t>
            </a:r>
            <a:r>
              <a:rPr lang="fr-FR" b="1" dirty="0"/>
              <a:t> </a:t>
            </a:r>
            <a:r>
              <a:rPr lang="fr-FR" b="1" dirty="0" err="1"/>
              <a:t>vehicles</a:t>
            </a:r>
            <a:r>
              <a:rPr lang="fr-FR" b="1" dirty="0"/>
              <a:t> (CO2 penalty ≈ €785 million)</a:t>
            </a:r>
          </a:p>
          <a:p>
            <a:r>
              <a:rPr lang="en-US" b="1" dirty="0"/>
              <a:t>Target</a:t>
            </a:r>
            <a:r>
              <a:rPr lang="en-US" sz="1050" b="1" dirty="0"/>
              <a:t>: </a:t>
            </a:r>
            <a:r>
              <a:rPr lang="en-US" sz="1050" dirty="0"/>
              <a:t>new vehicles emitting at least 118 g of CO2/km in 2024, as part of a reduction in the scales of 5 gCO2/km/year over the last 3 years</a:t>
            </a:r>
            <a:endParaRPr lang="fr-FR" sz="1050" dirty="0">
              <a:ea typeface="Times New Roman" panose="02020603050405020304" pitchFamily="18" charset="0"/>
            </a:endParaRPr>
          </a:p>
          <a:p>
            <a:endParaRPr lang="fr-FR" dirty="0"/>
          </a:p>
          <a:p>
            <a:endParaRPr lang="fr-FR" dirty="0"/>
          </a:p>
          <a:p>
            <a:endParaRPr lang="fr-FR" dirty="0"/>
          </a:p>
          <a:p>
            <a:endParaRPr lang="fr-FR" dirty="0"/>
          </a:p>
        </p:txBody>
      </p:sp>
      <p:graphicFrame>
        <p:nvGraphicFramePr>
          <p:cNvPr id="12" name="Graphique 11"/>
          <p:cNvGraphicFramePr/>
          <p:nvPr>
            <p:extLst>
              <p:ext uri="{D42A27DB-BD31-4B8C-83A1-F6EECF244321}">
                <p14:modId xmlns:p14="http://schemas.microsoft.com/office/powerpoint/2010/main" val="1271066622"/>
              </p:ext>
            </p:extLst>
          </p:nvPr>
        </p:nvGraphicFramePr>
        <p:xfrm>
          <a:off x="1547664" y="2139622"/>
          <a:ext cx="6192688" cy="255841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976146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8vekUDaKuwlrDQvI_8.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swKxO3VLNJsJ_LKl5eL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PThjrDQqFhz5EIyLlTmD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6R9DyAldveRk4MBw.My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vu00NBanlMgWXfFEu8W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oKX4xNOyFctjAjtwc9g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L1d9SLT3OGwdzBiq7g4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Nxz2HGi1t.ubRa9qgsh8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mdlp1to1sH.jnBH2nZMX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NJL9k9BJCX6t0P0l5kqf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MsdGWRsonzThzrFg2K7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r9jH9NvG6RN1a4Ifp3c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_7msfnDUg4k3p9HVug0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V9j8mb5IOkHmo4.19LJR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864AU6ctnNwFkp.h1EO1b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gcgrY4XPfcQ9bTo466Cu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9nLbFwV5hQXBBl8G9GoD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rMituEt69dwRTpz0A.Gw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NxuwWSaobncp9nX7ZTFF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yNZJ85Mhf997jheKSSPO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Acq8TBO4ikQhTNhg085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kGmBGdvbKUFbHbDvDdg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iBN_MzHWRZm0sUekCwQP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MNUc9BvRUTQcI_Fm_dao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abZ61GGwaj4PWDP9cLOS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V4GCOjecfgxBi5ltExL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dVs5knfR9wL5rpmwo18Z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7Hys.Iwt6_E2WJQ3zGZAx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yRW.MHgrAvkpxfOXSGrMq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rgqydU.n8gJiUc4mce9r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QQhsfMupf38.79yOi7z4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CJJgp0jXR_hX6.r9EWY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0R0NYu9FRs.LUWYp7PP7M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ciwhnevw6DPi7NqY6uu_P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nUqio0xdfLcTZmZhYn0x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8IMYe8J1Zm7Hm6q0Cqx3l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2cNI6wnGbLMjYaUcL3kIV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ZZC_TXLz6GaqwrAQYz5qa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kxpTS4qmJL90Z.fxBJn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oFwYHQnVhwmVIHSlh.Dl1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0nuM27ZDtHItOPzn2tS2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88eiL3r0LGYNhA1_HWqa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tSSngygjk0Y8eTqxz3LU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6NgcZkc0dq5ckO.q7fbQ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j5AJ4qwISWA7zyott8TK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wwRriOcuTiwAw3rQx468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3chDizboaPd8mbIOcGuze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63jB6DnaUez1nsPoXTDR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s6oRNDYxBUVrD8lxy7C_O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KwF8P4Lb4oBCJThxWROf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IQlMrvkuGiqk0efjcDDO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xStcBWxxTBf41IJQ8Q7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9Y53jJ9vF.ffH3j5F.BY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8L2guhNIlfZl9vpwt7R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l.OVSuscYwBwtHexkugU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6uSILeiln7r2SxE0PLD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21dLfYujKOYzuqSVpQO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kjOlDGVPIWvgMOHol3BF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A6ydwkkAj97LLGPiVS3E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gjtD2_RCJYAXEety1nsXK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vxtwD.LxelnaMuP4Z2K9B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fhIOVK0Sdfd_2LApKWz5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hcsvF0ja2sRgUUULjbTv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YllyZf0frDT8FVZYEKZY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IR.LHeWffTydw25r2F2j9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Ci9ie80XCsGoUS8TOYuy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9o2Vwl9am9yMQPj7urlW8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NHsx4K9MzBlrStEZHE6TS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o4ZX1oO..pZM6gRX4YYav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cUO1seKYvMgc3JFJRhxf.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xljmIuQKUVwSwH2Iv7f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FH8u9q8LpDZUTT6ltzv6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1Zv.MBTqZyGIWaAwGtfan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sfCUm5fZAEIiKdudbfvK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6Fvt7DrFIKFaKyt_M6.Ky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8CJgl3bBG.suV1WcHt9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NvQyYQPPsmRiq5f_fizZ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yqzI0DzcpMnFa9ZidHDK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bwH.ubjh7W_o.jD4QMTS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2acJwe_EKWjkcdhO3a5S9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ilbsqD9ozfeI7ZeSPZ3Z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Wne3UPySGbhD90yTgOlI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6HYxJizUREeLVyIQQoCCa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hFd3qYk2BMROD8P8E1i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nknsFJqCj0r.1B.0BUqk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DgvZN4jO3LHn1DVaGCCh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M6l81tjhVbRPRF0VHa.F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veyXbh38ybnH.EfKNE5u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LCJ7asFOYTIWRoFekClNv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wl8PFSB7Gom.odyvBBEd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D9Lepcdna4YPdBLkIXk4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6C5nluzZ.Ln5FYP6t9Qx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epCr2ftHjL.rQpUqIhZl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jGW8pR8NXlVJPCvGJGTnw"/>
</p:tagLst>
</file>

<file path=ppt/theme/theme1.xml><?xml version="1.0" encoding="utf-8"?>
<a:theme xmlns:a="http://schemas.openxmlformats.org/drawingml/2006/main" name="MINISTÈRIEL">
  <a:themeElements>
    <a:clrScheme name="GOUVERNEMENT PPT">
      <a:dk1>
        <a:srgbClr val="000000"/>
      </a:dk1>
      <a:lt1>
        <a:srgbClr val="FFFFFF"/>
      </a:lt1>
      <a:dk2>
        <a:srgbClr val="000091"/>
      </a:dk2>
      <a:lt2>
        <a:srgbClr val="E1000F"/>
      </a:lt2>
      <a:accent1>
        <a:srgbClr val="005841"/>
      </a:accent1>
      <a:accent2>
        <a:srgbClr val="21215A"/>
      </a:accent2>
      <a:accent3>
        <a:srgbClr val="FFD500"/>
      </a:accent3>
      <a:accent4>
        <a:srgbClr val="EA5433"/>
      </a:accent4>
      <a:accent5>
        <a:srgbClr val="8C2237"/>
      </a:accent5>
      <a:accent6>
        <a:srgbClr val="49311F"/>
      </a:accent6>
      <a:hlink>
        <a:srgbClr val="000000"/>
      </a:hlink>
      <a:folHlink>
        <a:srgbClr val="000000"/>
      </a:folHlink>
    </a:clrScheme>
    <a:fontScheme name="GOUVERNEMENT PPT">
      <a:majorFont>
        <a:latin typeface="Marianne"/>
        <a:ea typeface=""/>
        <a:cs typeface=""/>
      </a:majorFont>
      <a:minorFont>
        <a:latin typeface="Mariann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23B8812BCB8242AB31F7BA9ADC2539" ma:contentTypeVersion="19" ma:contentTypeDescription="Crée un document." ma:contentTypeScope="" ma:versionID="565123659ee60e246ca14134bf5bbaa5">
  <xsd:schema xmlns:xsd="http://www.w3.org/2001/XMLSchema" xmlns:xs="http://www.w3.org/2001/XMLSchema" xmlns:p="http://schemas.microsoft.com/office/2006/metadata/properties" xmlns:ns2="6b84dadb-64e9-451d-ac24-20f83dc4e5bc" xmlns:ns3="7ea94427-a814-4900-b4f1-e109ad14e580" targetNamespace="http://schemas.microsoft.com/office/2006/metadata/properties" ma:root="true" ma:fieldsID="bf2c3a4ad2cc622c63675b16225f4665" ns2:_="" ns3:_="">
    <xsd:import namespace="6b84dadb-64e9-451d-ac24-20f83dc4e5bc"/>
    <xsd:import namespace="7ea94427-a814-4900-b4f1-e109ad14e58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MediaServiceLocation" minOccurs="0"/>
                <xsd:element ref="ns2:lcf76f155ced4ddcb4097134ff3c332f" minOccurs="0"/>
                <xsd:element ref="ns3:TaxCatchAll" minOccurs="0"/>
                <xsd:element ref="ns2:Documenttype"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b84dadb-64e9-451d-ac24-20f83dc4e5b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0aed264e-563a-469a-8ebe-271e849ec10c" ma:termSetId="09814cd3-568e-fe90-9814-8d621ff8fb84" ma:anchorId="fba54fb3-c3e1-fe81-a776-ca4b69148c4d" ma:open="true" ma:isKeyword="false">
      <xsd:complexType>
        <xsd:sequence>
          <xsd:element ref="pc:Terms" minOccurs="0" maxOccurs="1"/>
        </xsd:sequence>
      </xsd:complexType>
    </xsd:element>
    <xsd:element name="Documenttype" ma:index="24" nillable="true" ma:displayName="Document type" ma:format="Dropdown" ma:internalName="Documenttype">
      <xsd:simpleType>
        <xsd:restriction base="dms:Choice">
          <xsd:enumeration value="Template"/>
          <xsd:enumeration value="Guide"/>
          <xsd:enumeration value="Tutorial"/>
          <xsd:enumeration value="Working Doc"/>
        </xsd:restriction>
      </xsd:simpleType>
    </xsd:element>
    <xsd:element name="MediaServiceObjectDetectorVersions" ma:index="25" nillable="true" ma:displayName="MediaServiceObjectDetectorVersions" ma:hidden="true" ma:indexed="true" ma:internalName="MediaServiceObjectDetectorVersions" ma:readOnly="true">
      <xsd:simpleType>
        <xsd:restriction base="dms:Text"/>
      </xsd:simpleType>
    </xsd:element>
    <xsd:element name="MediaServiceSearchProperties" ma:index="26"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ea94427-a814-4900-b4f1-e109ad14e580" elementFormDefault="qualified">
    <xsd:import namespace="http://schemas.microsoft.com/office/2006/documentManagement/types"/>
    <xsd:import namespace="http://schemas.microsoft.com/office/infopath/2007/PartnerControls"/>
    <xsd:element name="SharedWithUsers" ma:index="17"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Partagé avec détails" ma:internalName="SharedWithDetails" ma:readOnly="true">
      <xsd:simpleType>
        <xsd:restriction base="dms:Note">
          <xsd:maxLength value="255"/>
        </xsd:restriction>
      </xsd:simpleType>
    </xsd:element>
    <xsd:element name="TaxCatchAll" ma:index="23" nillable="true" ma:displayName="Taxonomy Catch All Column" ma:hidden="true" ma:list="{c91f7b5e-02e1-44ad-9dd5-27c65a3617cf}" ma:internalName="TaxCatchAll" ma:showField="CatchAllData" ma:web="7ea94427-a814-4900-b4f1-e109ad14e58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b84dadb-64e9-451d-ac24-20f83dc4e5bc">
      <Terms xmlns="http://schemas.microsoft.com/office/infopath/2007/PartnerControls"/>
    </lcf76f155ced4ddcb4097134ff3c332f>
    <Documenttype xmlns="6b84dadb-64e9-451d-ac24-20f83dc4e5bc" xsi:nil="true"/>
    <TaxCatchAll xmlns="7ea94427-a814-4900-b4f1-e109ad14e580" xsi:nil="true"/>
  </documentManagement>
</p:properties>
</file>

<file path=customXml/itemProps1.xml><?xml version="1.0" encoding="utf-8"?>
<ds:datastoreItem xmlns:ds="http://schemas.openxmlformats.org/officeDocument/2006/customXml" ds:itemID="{ACD92483-10AD-4E39-9A48-228DB0141160}"/>
</file>

<file path=customXml/itemProps2.xml><?xml version="1.0" encoding="utf-8"?>
<ds:datastoreItem xmlns:ds="http://schemas.openxmlformats.org/officeDocument/2006/customXml" ds:itemID="{6D7D5B6C-59D8-4947-8171-AAD265A85649}">
  <ds:schemaRefs>
    <ds:schemaRef ds:uri="http://schemas.microsoft.com/sharepoint/v3/contenttype/forms"/>
  </ds:schemaRefs>
</ds:datastoreItem>
</file>

<file path=customXml/itemProps3.xml><?xml version="1.0" encoding="utf-8"?>
<ds:datastoreItem xmlns:ds="http://schemas.openxmlformats.org/officeDocument/2006/customXml" ds:itemID="{02C51F57-8F71-437C-87DD-9D45754C2790}">
  <ds:schemaRefs>
    <ds:schemaRef ds:uri="http://schemas.microsoft.com/office/2006/documentManagement/types"/>
    <ds:schemaRef ds:uri="http://purl.org/dc/elements/1.1/"/>
    <ds:schemaRef ds:uri="6b84dadb-64e9-451d-ac24-20f83dc4e5bc"/>
    <ds:schemaRef ds:uri="http://www.w3.org/XML/1998/namespace"/>
    <ds:schemaRef ds:uri="http://schemas.openxmlformats.org/package/2006/metadata/core-properties"/>
    <ds:schemaRef ds:uri="http://purl.org/dc/dcmitype/"/>
    <ds:schemaRef ds:uri="http://purl.org/dc/terms/"/>
    <ds:schemaRef ds:uri="http://schemas.microsoft.com/office/infopath/2007/PartnerControls"/>
    <ds:schemaRef ds:uri="7ea94427-a814-4900-b4f1-e109ad14e580"/>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ppt_ministeriel_marianne</Template>
  <TotalTime>0</TotalTime>
  <Words>1587</Words>
  <Application>Microsoft Office PowerPoint</Application>
  <PresentationFormat>Affichage à l'écran (16:9)</PresentationFormat>
  <Paragraphs>232</Paragraphs>
  <Slides>13</Slides>
  <Notes>1</Notes>
  <HiddenSlides>0</HiddenSlides>
  <MMClips>0</MMClips>
  <ScaleCrop>false</ScaleCrop>
  <HeadingPairs>
    <vt:vector size="8" baseType="variant">
      <vt:variant>
        <vt:lpstr>Polices utilisées</vt:lpstr>
      </vt:variant>
      <vt:variant>
        <vt:i4>6</vt:i4>
      </vt:variant>
      <vt:variant>
        <vt:lpstr>Thème</vt:lpstr>
      </vt:variant>
      <vt:variant>
        <vt:i4>1</vt:i4>
      </vt:variant>
      <vt:variant>
        <vt:lpstr>Serveurs OLE incorporés</vt:lpstr>
      </vt:variant>
      <vt:variant>
        <vt:i4>1</vt:i4>
      </vt:variant>
      <vt:variant>
        <vt:lpstr>Titres des diapositives</vt:lpstr>
      </vt:variant>
      <vt:variant>
        <vt:i4>13</vt:i4>
      </vt:variant>
    </vt:vector>
  </HeadingPairs>
  <TitlesOfParts>
    <vt:vector size="21" baseType="lpstr">
      <vt:lpstr>Arial</vt:lpstr>
      <vt:lpstr>Calibri</vt:lpstr>
      <vt:lpstr>Courier New</vt:lpstr>
      <vt:lpstr>Marianne</vt:lpstr>
      <vt:lpstr>Times New Roman</vt:lpstr>
      <vt:lpstr>Wingdings</vt:lpstr>
      <vt:lpstr>MINISTÈRIEL</vt:lpstr>
      <vt:lpstr>think-cell Slide</vt:lpstr>
      <vt:lpstr>Présentation PowerPoint</vt:lpstr>
      <vt:lpstr>Transport is France’s most CO2-emitting sector</vt:lpstr>
      <vt:lpstr>Benefits of a switch from ICE to EVs</vt:lpstr>
      <vt:lpstr>Présentation PowerPoint</vt:lpstr>
      <vt:lpstr>Présentation PowerPoint</vt:lpstr>
      <vt:lpstr>Présentation PowerPoint</vt:lpstr>
      <vt:lpstr>Présentation PowerPoint</vt:lpstr>
      <vt:lpstr>Présentation PowerPoint</vt:lpstr>
      <vt:lpstr>Fiscal policy on car: CO2 malus</vt:lpstr>
      <vt:lpstr>Fiscal policy on car: weight malus</vt:lpstr>
      <vt:lpstr>Présentation PowerPoint</vt:lpstr>
      <vt:lpstr>Présentation PowerPoint</vt:lpstr>
      <vt:lpstr>Présentation PowerPoint</vt:lpstr>
    </vt:vector>
  </TitlesOfParts>
  <Manager>Client</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subject>Client</dc:subject>
  <dc:creator>FONDEVILLE Coralie</dc:creator>
  <cp:lastModifiedBy>Tobar-Malagueno, Anne-Sophie GIZ</cp:lastModifiedBy>
  <cp:revision>30</cp:revision>
  <dcterms:created xsi:type="dcterms:W3CDTF">2020-02-27T14:35:46Z</dcterms:created>
  <dcterms:modified xsi:type="dcterms:W3CDTF">2024-11-05T08:1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23B8812BCB8242AB31F7BA9ADC2539</vt:lpwstr>
  </property>
  <property fmtid="{D5CDD505-2E9C-101B-9397-08002B2CF9AE}" pid="3" name="MediaServiceImageTags">
    <vt:lpwstr/>
  </property>
</Properties>
</file>